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2.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notesSlides/notesSlide2.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260" r:id="rId7"/>
    <p:sldMasterId id="2147485117" r:id="rId8"/>
  </p:sldMasterIdLst>
  <p:notesMasterIdLst>
    <p:notesMasterId r:id="rId29"/>
  </p:notesMasterIdLst>
  <p:handoutMasterIdLst>
    <p:handoutMasterId r:id="rId30"/>
  </p:handoutMasterIdLst>
  <p:sldIdLst>
    <p:sldId id="260" r:id="rId9"/>
    <p:sldId id="3540" r:id="rId10"/>
    <p:sldId id="3541" r:id="rId11"/>
    <p:sldId id="3552" r:id="rId12"/>
    <p:sldId id="3557" r:id="rId13"/>
    <p:sldId id="3559" r:id="rId14"/>
    <p:sldId id="3558" r:id="rId15"/>
    <p:sldId id="3545" r:id="rId16"/>
    <p:sldId id="3546" r:id="rId17"/>
    <p:sldId id="3554" r:id="rId18"/>
    <p:sldId id="3548" r:id="rId19"/>
    <p:sldId id="3547" r:id="rId20"/>
    <p:sldId id="3543" r:id="rId21"/>
    <p:sldId id="289" r:id="rId22"/>
    <p:sldId id="290" r:id="rId23"/>
    <p:sldId id="3542" r:id="rId24"/>
    <p:sldId id="3549" r:id="rId25"/>
    <p:sldId id="284" r:id="rId26"/>
    <p:sldId id="3550" r:id="rId27"/>
    <p:sldId id="3553" r:id="rId28"/>
  </p:sldIdLst>
  <p:sldSz cx="12192000" cy="6858000"/>
  <p:notesSz cx="6950075" cy="9236075"/>
  <p:custShowLst>
    <p:custShow name="Format Guide Workshop" id="0">
      <p:sldLst/>
    </p:custShow>
  </p:custShowLst>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velina Borisova" initials="IB" lastIdx="8" clrIdx="0">
    <p:extLst>
      <p:ext uri="{19B8F6BF-5375-455C-9EA6-DF929625EA0E}">
        <p15:presenceInfo xmlns:p15="http://schemas.microsoft.com/office/powerpoint/2012/main" userId="S::iborisova@unicef.org::c82c5fb3-7a10-4600-80bb-14961ccaa1ae" providerId="AD"/>
      </p:ext>
    </p:extLst>
  </p:cmAuthor>
  <p:cmAuthor id="2" name="Guest User" initials="GU" lastIdx="9" clrIdx="1">
    <p:extLst>
      <p:ext uri="{19B8F6BF-5375-455C-9EA6-DF929625EA0E}">
        <p15:presenceInfo xmlns:p15="http://schemas.microsoft.com/office/powerpoint/2012/main" userId="S::urn:spo:anon#d9c87b341883712e6e6b16266f1ed63d9d91c1cc170fd29037eca02aff864d9a::" providerId="AD"/>
      </p:ext>
    </p:extLst>
  </p:cmAuthor>
  <p:cmAuthor id="3" name="Aleksandra Jovic" initials="AJ" lastIdx="1" clrIdx="2">
    <p:extLst>
      <p:ext uri="{19B8F6BF-5375-455C-9EA6-DF929625EA0E}">
        <p15:presenceInfo xmlns:p15="http://schemas.microsoft.com/office/powerpoint/2012/main" userId="S::ajovic@unicef.org::8fd8a70a-d23d-4ff1-937b-37487c9f12e3" providerId="AD"/>
      </p:ext>
    </p:extLst>
  </p:cmAuthor>
  <p:cmAuthor id="4" name="Pragya Dewan" initials="PD" lastIdx="1" clrIdx="3">
    <p:extLst>
      <p:ext uri="{19B8F6BF-5375-455C-9EA6-DF929625EA0E}">
        <p15:presenceInfo xmlns:p15="http://schemas.microsoft.com/office/powerpoint/2012/main" userId="S::pdewan@unicef.org::e98227de-2142-4517-8a99-30f42860cd93" providerId="AD"/>
      </p:ext>
    </p:extLst>
  </p:cmAuthor>
  <p:cmAuthor id="5" name="Ellen Eun" initials="EE" lastIdx="1" clrIdx="4">
    <p:extLst>
      <p:ext uri="{19B8F6BF-5375-455C-9EA6-DF929625EA0E}">
        <p15:presenceInfo xmlns:p15="http://schemas.microsoft.com/office/powerpoint/2012/main" userId="S::eeun@unicef.org::f0c264fc-d3d7-41f4-94a4-4825edcbf79e" providerId="AD"/>
      </p:ext>
    </p:extLst>
  </p:cmAuthor>
  <p:cmAuthor id="6" name="Mac Glovinsky" initials="MG" lastIdx="1" clrIdx="5">
    <p:extLst>
      <p:ext uri="{19B8F6BF-5375-455C-9EA6-DF929625EA0E}">
        <p15:presenceInfo xmlns:p15="http://schemas.microsoft.com/office/powerpoint/2012/main" userId="S::mglovinsky@unicef.org::40a53b13-748c-49dc-bfee-030826c3e8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5E30"/>
    <a:srgbClr val="00A4E1"/>
    <a:srgbClr val="F8F8F8"/>
    <a:srgbClr val="00AEEF"/>
    <a:srgbClr val="00ACEC"/>
    <a:srgbClr val="00ABEB"/>
    <a:srgbClr val="3062E5"/>
    <a:srgbClr val="3C2BAE"/>
    <a:srgbClr val="4799CE"/>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2DE2F9-2EDD-6D47-6549-1A9CFFA9A000}" v="1" dt="2021-03-30T20:04:23.586"/>
    <p1510:client id="{42542EAE-BC46-ED78-EE2B-7F3487EFD893}" v="25" dt="2021-04-01T13:26:19.687"/>
    <p1510:client id="{83CF5F79-1FC4-434E-BE90-7149042778C0}" v="3370" dt="2021-03-30T21:52:02.216"/>
    <p1510:client id="{9CF88208-8817-3B30-FA2F-EA7BD8DB1BF9}" v="24" dt="2021-03-30T23:25:11.409"/>
    <p1510:client id="{FC41DBC9-2443-4A80-80E3-5961415337DD}" v="1418" dt="2021-03-30T23:17:08.6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756" y="108"/>
      </p:cViewPr>
      <p:guideLst>
        <p:guide orient="horz" pos="2160"/>
        <p:guide pos="24"/>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1.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Master" Target="slideMasters/slideMaster2.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4AF50C6-FB22-4C74-A3A5-4C2C338C9201}" type="doc">
      <dgm:prSet loTypeId="urn:microsoft.com/office/officeart/2005/8/layout/radial5" loCatId="cycle" qsTypeId="urn:microsoft.com/office/officeart/2005/8/quickstyle/simple1" qsCatId="simple" csTypeId="urn:microsoft.com/office/officeart/2005/8/colors/colorful5" csCatId="colorful" phldr="1"/>
      <dgm:spPr/>
      <dgm:t>
        <a:bodyPr/>
        <a:lstStyle/>
        <a:p>
          <a:endParaRPr lang="en-US"/>
        </a:p>
      </dgm:t>
    </dgm:pt>
    <dgm:pt modelId="{57FCD67E-126A-481D-8CFE-A8E4306FCF47}">
      <dgm:prSet phldrT="[Text]" custT="1"/>
      <dgm:spPr>
        <a:solidFill>
          <a:srgbClr val="FFC000"/>
        </a:solidFill>
      </dgm:spPr>
      <dgm:t>
        <a:bodyPr/>
        <a:lstStyle/>
        <a:p>
          <a:r>
            <a:rPr lang="en-US" sz="1600" b="1">
              <a:solidFill>
                <a:sysClr val="windowText" lastClr="000000"/>
              </a:solidFill>
            </a:rPr>
            <a:t>Use Cases</a:t>
          </a:r>
        </a:p>
      </dgm:t>
    </dgm:pt>
    <dgm:pt modelId="{88E5B254-E299-4A4B-9DB8-3599901EAC15}" type="parTrans" cxnId="{8A45DF94-CA5E-4F3A-AEA9-0886BA0FCE05}">
      <dgm:prSet/>
      <dgm:spPr/>
      <dgm:t>
        <a:bodyPr/>
        <a:lstStyle/>
        <a:p>
          <a:endParaRPr lang="en-US"/>
        </a:p>
      </dgm:t>
    </dgm:pt>
    <dgm:pt modelId="{9F6DCB70-8F37-4193-82B9-6C7768582353}" type="sibTrans" cxnId="{8A45DF94-CA5E-4F3A-AEA9-0886BA0FCE05}">
      <dgm:prSet/>
      <dgm:spPr/>
      <dgm:t>
        <a:bodyPr/>
        <a:lstStyle/>
        <a:p>
          <a:endParaRPr lang="en-US"/>
        </a:p>
      </dgm:t>
    </dgm:pt>
    <dgm:pt modelId="{1530F968-CD2C-4474-AB0D-10955A5FAB3D}">
      <dgm:prSet phldrT="[Text]" custT="1"/>
      <dgm:spPr>
        <a:solidFill>
          <a:srgbClr val="FF7C80"/>
        </a:solidFill>
      </dgm:spPr>
      <dgm:t>
        <a:bodyPr/>
        <a:lstStyle/>
        <a:p>
          <a:r>
            <a:rPr lang="en-US" sz="1400" b="1"/>
            <a:t>Early Childhood Education </a:t>
          </a:r>
          <a:br>
            <a:rPr lang="en-US" sz="1400" b="1"/>
          </a:br>
          <a:r>
            <a:rPr lang="en-US" sz="1400" b="1"/>
            <a:t>&amp; Parents</a:t>
          </a:r>
        </a:p>
      </dgm:t>
    </dgm:pt>
    <dgm:pt modelId="{D0642E9E-D747-417B-A805-DA064A35DFC9}" type="sibTrans" cxnId="{89A611E5-C10D-443A-8CE1-374249B9AB19}">
      <dgm:prSet/>
      <dgm:spPr/>
      <dgm:t>
        <a:bodyPr/>
        <a:lstStyle/>
        <a:p>
          <a:endParaRPr lang="en-US"/>
        </a:p>
      </dgm:t>
    </dgm:pt>
    <dgm:pt modelId="{3862D0B0-4814-4FF3-B4F0-79768034AF5F}" type="parTrans" cxnId="{89A611E5-C10D-443A-8CE1-374249B9AB19}">
      <dgm:prSet/>
      <dgm:spPr>
        <a:solidFill>
          <a:srgbClr val="FF7C80"/>
        </a:solidFill>
      </dgm:spPr>
      <dgm:t>
        <a:bodyPr/>
        <a:lstStyle/>
        <a:p>
          <a:endParaRPr lang="en-US"/>
        </a:p>
      </dgm:t>
    </dgm:pt>
    <dgm:pt modelId="{DD4C714F-446F-4059-8494-3430D2F988B2}">
      <dgm:prSet phldrT="[Text]" custT="1"/>
      <dgm:spPr>
        <a:solidFill>
          <a:srgbClr val="48D491"/>
        </a:solidFill>
      </dgm:spPr>
      <dgm:t>
        <a:bodyPr/>
        <a:lstStyle/>
        <a:p>
          <a:r>
            <a:rPr lang="en-US" sz="1400" b="1"/>
            <a:t>Primary &amp; Secondary Education</a:t>
          </a:r>
        </a:p>
      </dgm:t>
    </dgm:pt>
    <dgm:pt modelId="{0D1ED92C-F014-432E-90C8-470017B12A79}" type="sibTrans" cxnId="{C622052F-DF55-44C3-8840-33355F680635}">
      <dgm:prSet/>
      <dgm:spPr/>
      <dgm:t>
        <a:bodyPr/>
        <a:lstStyle/>
        <a:p>
          <a:endParaRPr lang="en-US"/>
        </a:p>
      </dgm:t>
    </dgm:pt>
    <dgm:pt modelId="{860E3E14-8C17-40D6-A9BF-E37919B247A6}" type="parTrans" cxnId="{C622052F-DF55-44C3-8840-33355F680635}">
      <dgm:prSet/>
      <dgm:spPr>
        <a:solidFill>
          <a:srgbClr val="48D491"/>
        </a:solidFill>
      </dgm:spPr>
      <dgm:t>
        <a:bodyPr/>
        <a:lstStyle/>
        <a:p>
          <a:endParaRPr lang="en-US"/>
        </a:p>
      </dgm:t>
    </dgm:pt>
    <dgm:pt modelId="{12818E90-5435-428E-B005-E0F920603984}">
      <dgm:prSet phldrT="[Text]" custT="1"/>
      <dgm:spPr>
        <a:solidFill>
          <a:srgbClr val="5B9BD5"/>
        </a:solidFill>
      </dgm:spPr>
      <dgm:t>
        <a:bodyPr/>
        <a:lstStyle/>
        <a:p>
          <a:r>
            <a:rPr lang="en-US" sz="1400" b="1"/>
            <a:t>Technical &amp; Vocational Education &amp; Training</a:t>
          </a:r>
        </a:p>
      </dgm:t>
    </dgm:pt>
    <dgm:pt modelId="{8775CC1C-1733-43DF-B75A-829F44C42596}" type="sibTrans" cxnId="{FC41B31C-9CB5-4D74-9B42-8821E149AC9F}">
      <dgm:prSet/>
      <dgm:spPr/>
      <dgm:t>
        <a:bodyPr/>
        <a:lstStyle/>
        <a:p>
          <a:endParaRPr lang="en-US"/>
        </a:p>
      </dgm:t>
    </dgm:pt>
    <dgm:pt modelId="{FDF0D2A5-DBEF-4BDC-8FA9-5A40DCB6CF4F}" type="parTrans" cxnId="{FC41B31C-9CB5-4D74-9B42-8821E149AC9F}">
      <dgm:prSet/>
      <dgm:spPr>
        <a:solidFill>
          <a:srgbClr val="5B9BD5"/>
        </a:solidFill>
      </dgm:spPr>
      <dgm:t>
        <a:bodyPr/>
        <a:lstStyle/>
        <a:p>
          <a:endParaRPr lang="en-US"/>
        </a:p>
      </dgm:t>
    </dgm:pt>
    <dgm:pt modelId="{043DCA90-CB34-4F64-9C09-BDAFEAD09506}">
      <dgm:prSet phldrT="[Text]" custT="1"/>
      <dgm:spPr>
        <a:solidFill>
          <a:srgbClr val="54CCCD"/>
        </a:solidFill>
      </dgm:spPr>
      <dgm:t>
        <a:bodyPr/>
        <a:lstStyle/>
        <a:p>
          <a:r>
            <a:rPr lang="en-US" sz="1400" b="1"/>
            <a:t>Teacher Trainings</a:t>
          </a:r>
        </a:p>
      </dgm:t>
    </dgm:pt>
    <dgm:pt modelId="{8DD84E35-5925-4F18-81C8-F392D650DB12}" type="sibTrans" cxnId="{1FEDC25C-4870-4B61-BAC3-4AAB7E5372B0}">
      <dgm:prSet/>
      <dgm:spPr/>
      <dgm:t>
        <a:bodyPr/>
        <a:lstStyle/>
        <a:p>
          <a:endParaRPr lang="en-US"/>
        </a:p>
      </dgm:t>
    </dgm:pt>
    <dgm:pt modelId="{8E787AB3-362D-44B1-A659-68B6CBF2B69F}" type="parTrans" cxnId="{1FEDC25C-4870-4B61-BAC3-4AAB7E5372B0}">
      <dgm:prSet/>
      <dgm:spPr>
        <a:solidFill>
          <a:srgbClr val="54CCCD"/>
        </a:solidFill>
      </dgm:spPr>
      <dgm:t>
        <a:bodyPr/>
        <a:lstStyle/>
        <a:p>
          <a:endParaRPr lang="en-US"/>
        </a:p>
      </dgm:t>
    </dgm:pt>
    <dgm:pt modelId="{E39EFD4F-40CD-4554-9ACC-A0161292598D}">
      <dgm:prSet phldrT="[Text]" custT="1"/>
      <dgm:spPr>
        <a:solidFill>
          <a:srgbClr val="4DC58D"/>
        </a:solidFill>
      </dgm:spPr>
      <dgm:t>
        <a:bodyPr/>
        <a:lstStyle/>
        <a:p>
          <a:r>
            <a:rPr lang="en-US" sz="1400" b="1"/>
            <a:t>Youth &amp; Adolescent Skills</a:t>
          </a:r>
        </a:p>
      </dgm:t>
    </dgm:pt>
    <dgm:pt modelId="{FA69866F-510B-463E-B522-648E6FDC067A}" type="sibTrans" cxnId="{B288D9B6-1899-41FE-B1A3-927EF3A5DB23}">
      <dgm:prSet/>
      <dgm:spPr/>
      <dgm:t>
        <a:bodyPr/>
        <a:lstStyle/>
        <a:p>
          <a:endParaRPr lang="en-US"/>
        </a:p>
      </dgm:t>
    </dgm:pt>
    <dgm:pt modelId="{87E6A9F6-C650-40EE-A304-1F415E427DE3}" type="parTrans" cxnId="{B288D9B6-1899-41FE-B1A3-927EF3A5DB23}">
      <dgm:prSet/>
      <dgm:spPr>
        <a:solidFill>
          <a:srgbClr val="4DC58D"/>
        </a:solidFill>
      </dgm:spPr>
      <dgm:t>
        <a:bodyPr/>
        <a:lstStyle/>
        <a:p>
          <a:endParaRPr lang="en-US"/>
        </a:p>
      </dgm:t>
    </dgm:pt>
    <dgm:pt modelId="{A664BBF3-0279-4BDC-B809-ADEAD92BD943}" type="pres">
      <dgm:prSet presAssocID="{54AF50C6-FB22-4C74-A3A5-4C2C338C9201}" presName="Name0" presStyleCnt="0">
        <dgm:presLayoutVars>
          <dgm:chMax val="1"/>
          <dgm:dir/>
          <dgm:animLvl val="ctr"/>
          <dgm:resizeHandles val="exact"/>
        </dgm:presLayoutVars>
      </dgm:prSet>
      <dgm:spPr/>
    </dgm:pt>
    <dgm:pt modelId="{10156327-53C4-4AEC-AE87-A52209D71F14}" type="pres">
      <dgm:prSet presAssocID="{57FCD67E-126A-481D-8CFE-A8E4306FCF47}" presName="centerShape" presStyleLbl="node0" presStyleIdx="0" presStyleCnt="1" custScaleX="114021" custScaleY="116143"/>
      <dgm:spPr/>
    </dgm:pt>
    <dgm:pt modelId="{227472EF-9EC5-4145-AE56-86151B7084AE}" type="pres">
      <dgm:prSet presAssocID="{3862D0B0-4814-4FF3-B4F0-79768034AF5F}" presName="parTrans" presStyleLbl="sibTrans2D1" presStyleIdx="0" presStyleCnt="5"/>
      <dgm:spPr/>
    </dgm:pt>
    <dgm:pt modelId="{632FEE6C-AB3B-41C4-B191-715B0D8BB6A4}" type="pres">
      <dgm:prSet presAssocID="{3862D0B0-4814-4FF3-B4F0-79768034AF5F}" presName="connectorText" presStyleLbl="sibTrans2D1" presStyleIdx="0" presStyleCnt="5"/>
      <dgm:spPr/>
    </dgm:pt>
    <dgm:pt modelId="{4631FE6F-D199-4D61-B399-82B2552896C1}" type="pres">
      <dgm:prSet presAssocID="{1530F968-CD2C-4474-AB0D-10955A5FAB3D}" presName="node" presStyleLbl="node1" presStyleIdx="0" presStyleCnt="5" custScaleX="126443" custScaleY="131148">
        <dgm:presLayoutVars>
          <dgm:bulletEnabled val="1"/>
        </dgm:presLayoutVars>
      </dgm:prSet>
      <dgm:spPr/>
    </dgm:pt>
    <dgm:pt modelId="{E7EA7F12-9801-4A25-A2CE-A16C5532A80B}" type="pres">
      <dgm:prSet presAssocID="{860E3E14-8C17-40D6-A9BF-E37919B247A6}" presName="parTrans" presStyleLbl="sibTrans2D1" presStyleIdx="1" presStyleCnt="5"/>
      <dgm:spPr/>
    </dgm:pt>
    <dgm:pt modelId="{5EC7E7E5-36A0-48AC-864C-BC0E235858B9}" type="pres">
      <dgm:prSet presAssocID="{860E3E14-8C17-40D6-A9BF-E37919B247A6}" presName="connectorText" presStyleLbl="sibTrans2D1" presStyleIdx="1" presStyleCnt="5"/>
      <dgm:spPr/>
    </dgm:pt>
    <dgm:pt modelId="{A3223469-BC2E-4BD9-85FF-5FFA11453AA4}" type="pres">
      <dgm:prSet presAssocID="{DD4C714F-446F-4059-8494-3430D2F988B2}" presName="node" presStyleLbl="node1" presStyleIdx="1" presStyleCnt="5" custScaleX="138815" custScaleY="139924">
        <dgm:presLayoutVars>
          <dgm:bulletEnabled val="1"/>
        </dgm:presLayoutVars>
      </dgm:prSet>
      <dgm:spPr/>
    </dgm:pt>
    <dgm:pt modelId="{D816AAD5-5DAC-4C0C-82E7-790CF04B0F24}" type="pres">
      <dgm:prSet presAssocID="{87E6A9F6-C650-40EE-A304-1F415E427DE3}" presName="parTrans" presStyleLbl="sibTrans2D1" presStyleIdx="2" presStyleCnt="5"/>
      <dgm:spPr/>
    </dgm:pt>
    <dgm:pt modelId="{45811956-AF79-4B9E-B2CC-4672A0C96537}" type="pres">
      <dgm:prSet presAssocID="{87E6A9F6-C650-40EE-A304-1F415E427DE3}" presName="connectorText" presStyleLbl="sibTrans2D1" presStyleIdx="2" presStyleCnt="5"/>
      <dgm:spPr/>
    </dgm:pt>
    <dgm:pt modelId="{9334D7D7-AF36-4DA1-AE9B-3D8F6C2AC894}" type="pres">
      <dgm:prSet presAssocID="{E39EFD4F-40CD-4554-9ACC-A0161292598D}" presName="node" presStyleLbl="node1" presStyleIdx="2" presStyleCnt="5" custScaleX="140127" custScaleY="127798">
        <dgm:presLayoutVars>
          <dgm:bulletEnabled val="1"/>
        </dgm:presLayoutVars>
      </dgm:prSet>
      <dgm:spPr/>
    </dgm:pt>
    <dgm:pt modelId="{4F49B0AE-741A-43EF-9A40-AB7E0912CBDD}" type="pres">
      <dgm:prSet presAssocID="{FDF0D2A5-DBEF-4BDC-8FA9-5A40DCB6CF4F}" presName="parTrans" presStyleLbl="sibTrans2D1" presStyleIdx="3" presStyleCnt="5"/>
      <dgm:spPr/>
    </dgm:pt>
    <dgm:pt modelId="{29914251-C56D-48BB-A3E3-60A6E707EB4C}" type="pres">
      <dgm:prSet presAssocID="{FDF0D2A5-DBEF-4BDC-8FA9-5A40DCB6CF4F}" presName="connectorText" presStyleLbl="sibTrans2D1" presStyleIdx="3" presStyleCnt="5"/>
      <dgm:spPr/>
    </dgm:pt>
    <dgm:pt modelId="{388B3CD6-F2CB-470F-A643-38614261A63D}" type="pres">
      <dgm:prSet presAssocID="{12818E90-5435-428E-B005-E0F920603984}" presName="node" presStyleLbl="node1" presStyleIdx="3" presStyleCnt="5" custScaleX="126443" custScaleY="131148">
        <dgm:presLayoutVars>
          <dgm:bulletEnabled val="1"/>
        </dgm:presLayoutVars>
      </dgm:prSet>
      <dgm:spPr/>
    </dgm:pt>
    <dgm:pt modelId="{CB6EE809-D961-490B-8AD5-D4A039B55F1D}" type="pres">
      <dgm:prSet presAssocID="{8E787AB3-362D-44B1-A659-68B6CBF2B69F}" presName="parTrans" presStyleLbl="sibTrans2D1" presStyleIdx="4" presStyleCnt="5"/>
      <dgm:spPr/>
    </dgm:pt>
    <dgm:pt modelId="{88020EB1-F25F-49B9-8E8A-3329ED31C7BF}" type="pres">
      <dgm:prSet presAssocID="{8E787AB3-362D-44B1-A659-68B6CBF2B69F}" presName="connectorText" presStyleLbl="sibTrans2D1" presStyleIdx="4" presStyleCnt="5"/>
      <dgm:spPr/>
    </dgm:pt>
    <dgm:pt modelId="{4159080B-1251-4A19-A33E-FD19A327D513}" type="pres">
      <dgm:prSet presAssocID="{043DCA90-CB34-4F64-9C09-BDAFEAD09506}" presName="node" presStyleLbl="node1" presStyleIdx="4" presStyleCnt="5" custScaleX="126443" custScaleY="131148">
        <dgm:presLayoutVars>
          <dgm:bulletEnabled val="1"/>
        </dgm:presLayoutVars>
      </dgm:prSet>
      <dgm:spPr/>
    </dgm:pt>
  </dgm:ptLst>
  <dgm:cxnLst>
    <dgm:cxn modelId="{F86AF11B-955E-42DA-B2D2-B73B8F4CD1D3}" type="presOf" srcId="{3862D0B0-4814-4FF3-B4F0-79768034AF5F}" destId="{632FEE6C-AB3B-41C4-B191-715B0D8BB6A4}" srcOrd="1" destOrd="0" presId="urn:microsoft.com/office/officeart/2005/8/layout/radial5"/>
    <dgm:cxn modelId="{FC41B31C-9CB5-4D74-9B42-8821E149AC9F}" srcId="{57FCD67E-126A-481D-8CFE-A8E4306FCF47}" destId="{12818E90-5435-428E-B005-E0F920603984}" srcOrd="3" destOrd="0" parTransId="{FDF0D2A5-DBEF-4BDC-8FA9-5A40DCB6CF4F}" sibTransId="{8775CC1C-1733-43DF-B75A-829F44C42596}"/>
    <dgm:cxn modelId="{EC2A4621-42F9-4012-AB27-BFEA0413F9B5}" type="presOf" srcId="{FDF0D2A5-DBEF-4BDC-8FA9-5A40DCB6CF4F}" destId="{29914251-C56D-48BB-A3E3-60A6E707EB4C}" srcOrd="1" destOrd="0" presId="urn:microsoft.com/office/officeart/2005/8/layout/radial5"/>
    <dgm:cxn modelId="{42DA6C2A-89A3-4BA7-83BE-937C3E496DDF}" type="presOf" srcId="{3862D0B0-4814-4FF3-B4F0-79768034AF5F}" destId="{227472EF-9EC5-4145-AE56-86151B7084AE}" srcOrd="0" destOrd="0" presId="urn:microsoft.com/office/officeart/2005/8/layout/radial5"/>
    <dgm:cxn modelId="{7EF0662C-C73D-4735-84C1-05854467A065}" type="presOf" srcId="{860E3E14-8C17-40D6-A9BF-E37919B247A6}" destId="{E7EA7F12-9801-4A25-A2CE-A16C5532A80B}" srcOrd="0" destOrd="0" presId="urn:microsoft.com/office/officeart/2005/8/layout/radial5"/>
    <dgm:cxn modelId="{C622052F-DF55-44C3-8840-33355F680635}" srcId="{57FCD67E-126A-481D-8CFE-A8E4306FCF47}" destId="{DD4C714F-446F-4059-8494-3430D2F988B2}" srcOrd="1" destOrd="0" parTransId="{860E3E14-8C17-40D6-A9BF-E37919B247A6}" sibTransId="{0D1ED92C-F014-432E-90C8-470017B12A79}"/>
    <dgm:cxn modelId="{F1A56239-29A3-4DAE-BF62-6417330F0AC7}" type="presOf" srcId="{DD4C714F-446F-4059-8494-3430D2F988B2}" destId="{A3223469-BC2E-4BD9-85FF-5FFA11453AA4}" srcOrd="0" destOrd="0" presId="urn:microsoft.com/office/officeart/2005/8/layout/radial5"/>
    <dgm:cxn modelId="{1FEDC25C-4870-4B61-BAC3-4AAB7E5372B0}" srcId="{57FCD67E-126A-481D-8CFE-A8E4306FCF47}" destId="{043DCA90-CB34-4F64-9C09-BDAFEAD09506}" srcOrd="4" destOrd="0" parTransId="{8E787AB3-362D-44B1-A659-68B6CBF2B69F}" sibTransId="{8DD84E35-5925-4F18-81C8-F392D650DB12}"/>
    <dgm:cxn modelId="{1BF44745-BCA7-4BFE-A015-54BC7F9FE107}" type="presOf" srcId="{12818E90-5435-428E-B005-E0F920603984}" destId="{388B3CD6-F2CB-470F-A643-38614261A63D}" srcOrd="0" destOrd="0" presId="urn:microsoft.com/office/officeart/2005/8/layout/radial5"/>
    <dgm:cxn modelId="{648A8B47-CFF2-4211-8756-F3ED37A33772}" type="presOf" srcId="{8E787AB3-362D-44B1-A659-68B6CBF2B69F}" destId="{CB6EE809-D961-490B-8AD5-D4A039B55F1D}" srcOrd="0" destOrd="0" presId="urn:microsoft.com/office/officeart/2005/8/layout/radial5"/>
    <dgm:cxn modelId="{4F3F9E50-D554-4691-AE8E-807862DA86E9}" type="presOf" srcId="{860E3E14-8C17-40D6-A9BF-E37919B247A6}" destId="{5EC7E7E5-36A0-48AC-864C-BC0E235858B9}" srcOrd="1" destOrd="0" presId="urn:microsoft.com/office/officeart/2005/8/layout/radial5"/>
    <dgm:cxn modelId="{37210C7A-9E97-4D6F-84B0-6D9C0626EE46}" type="presOf" srcId="{FDF0D2A5-DBEF-4BDC-8FA9-5A40DCB6CF4F}" destId="{4F49B0AE-741A-43EF-9A40-AB7E0912CBDD}" srcOrd="0" destOrd="0" presId="urn:microsoft.com/office/officeart/2005/8/layout/radial5"/>
    <dgm:cxn modelId="{B44B087C-7E6B-4928-9979-A43E8FF5A2A2}" type="presOf" srcId="{8E787AB3-362D-44B1-A659-68B6CBF2B69F}" destId="{88020EB1-F25F-49B9-8E8A-3329ED31C7BF}" srcOrd="1" destOrd="0" presId="urn:microsoft.com/office/officeart/2005/8/layout/radial5"/>
    <dgm:cxn modelId="{8A45DF94-CA5E-4F3A-AEA9-0886BA0FCE05}" srcId="{54AF50C6-FB22-4C74-A3A5-4C2C338C9201}" destId="{57FCD67E-126A-481D-8CFE-A8E4306FCF47}" srcOrd="0" destOrd="0" parTransId="{88E5B254-E299-4A4B-9DB8-3599901EAC15}" sibTransId="{9F6DCB70-8F37-4193-82B9-6C7768582353}"/>
    <dgm:cxn modelId="{83C07E95-C23D-463C-9E92-DF5B18F911FC}" type="presOf" srcId="{87E6A9F6-C650-40EE-A304-1F415E427DE3}" destId="{45811956-AF79-4B9E-B2CC-4672A0C96537}" srcOrd="1" destOrd="0" presId="urn:microsoft.com/office/officeart/2005/8/layout/radial5"/>
    <dgm:cxn modelId="{1A30149F-8EB4-483C-B043-BFBDA3C30B14}" type="presOf" srcId="{1530F968-CD2C-4474-AB0D-10955A5FAB3D}" destId="{4631FE6F-D199-4D61-B399-82B2552896C1}" srcOrd="0" destOrd="0" presId="urn:microsoft.com/office/officeart/2005/8/layout/radial5"/>
    <dgm:cxn modelId="{7509DCB3-7C18-4026-BD62-48DDE241E996}" type="presOf" srcId="{043DCA90-CB34-4F64-9C09-BDAFEAD09506}" destId="{4159080B-1251-4A19-A33E-FD19A327D513}" srcOrd="0" destOrd="0" presId="urn:microsoft.com/office/officeart/2005/8/layout/radial5"/>
    <dgm:cxn modelId="{B288D9B6-1899-41FE-B1A3-927EF3A5DB23}" srcId="{57FCD67E-126A-481D-8CFE-A8E4306FCF47}" destId="{E39EFD4F-40CD-4554-9ACC-A0161292598D}" srcOrd="2" destOrd="0" parTransId="{87E6A9F6-C650-40EE-A304-1F415E427DE3}" sibTransId="{FA69866F-510B-463E-B522-648E6FDC067A}"/>
    <dgm:cxn modelId="{CC5E71C1-91A5-4572-B2EA-91FF55A298D7}" type="presOf" srcId="{E39EFD4F-40CD-4554-9ACC-A0161292598D}" destId="{9334D7D7-AF36-4DA1-AE9B-3D8F6C2AC894}" srcOrd="0" destOrd="0" presId="urn:microsoft.com/office/officeart/2005/8/layout/radial5"/>
    <dgm:cxn modelId="{0FCD37C6-A26D-450C-91F5-0D8C3E44D4C5}" type="presOf" srcId="{87E6A9F6-C650-40EE-A304-1F415E427DE3}" destId="{D816AAD5-5DAC-4C0C-82E7-790CF04B0F24}" srcOrd="0" destOrd="0" presId="urn:microsoft.com/office/officeart/2005/8/layout/radial5"/>
    <dgm:cxn modelId="{89A611E5-C10D-443A-8CE1-374249B9AB19}" srcId="{57FCD67E-126A-481D-8CFE-A8E4306FCF47}" destId="{1530F968-CD2C-4474-AB0D-10955A5FAB3D}" srcOrd="0" destOrd="0" parTransId="{3862D0B0-4814-4FF3-B4F0-79768034AF5F}" sibTransId="{D0642E9E-D747-417B-A805-DA064A35DFC9}"/>
    <dgm:cxn modelId="{A971ADF7-FA6D-4F62-9AE7-C2E4224C5951}" type="presOf" srcId="{57FCD67E-126A-481D-8CFE-A8E4306FCF47}" destId="{10156327-53C4-4AEC-AE87-A52209D71F14}" srcOrd="0" destOrd="0" presId="urn:microsoft.com/office/officeart/2005/8/layout/radial5"/>
    <dgm:cxn modelId="{528C0DFD-D2A4-4D13-80B5-6F2E2CF6F3FB}" type="presOf" srcId="{54AF50C6-FB22-4C74-A3A5-4C2C338C9201}" destId="{A664BBF3-0279-4BDC-B809-ADEAD92BD943}" srcOrd="0" destOrd="0" presId="urn:microsoft.com/office/officeart/2005/8/layout/radial5"/>
    <dgm:cxn modelId="{3F163E5D-87CC-4D0A-9678-3414C41D1CF4}" type="presParOf" srcId="{A664BBF3-0279-4BDC-B809-ADEAD92BD943}" destId="{10156327-53C4-4AEC-AE87-A52209D71F14}" srcOrd="0" destOrd="0" presId="urn:microsoft.com/office/officeart/2005/8/layout/radial5"/>
    <dgm:cxn modelId="{FF3CEBF4-6C20-4BE3-8ADC-15B4231DEF8A}" type="presParOf" srcId="{A664BBF3-0279-4BDC-B809-ADEAD92BD943}" destId="{227472EF-9EC5-4145-AE56-86151B7084AE}" srcOrd="1" destOrd="0" presId="urn:microsoft.com/office/officeart/2005/8/layout/radial5"/>
    <dgm:cxn modelId="{C4A2B020-5F70-4C99-8314-49CD31773A11}" type="presParOf" srcId="{227472EF-9EC5-4145-AE56-86151B7084AE}" destId="{632FEE6C-AB3B-41C4-B191-715B0D8BB6A4}" srcOrd="0" destOrd="0" presId="urn:microsoft.com/office/officeart/2005/8/layout/radial5"/>
    <dgm:cxn modelId="{352FD16C-7F83-4065-8F22-2A6DAC47A3FD}" type="presParOf" srcId="{A664BBF3-0279-4BDC-B809-ADEAD92BD943}" destId="{4631FE6F-D199-4D61-B399-82B2552896C1}" srcOrd="2" destOrd="0" presId="urn:microsoft.com/office/officeart/2005/8/layout/radial5"/>
    <dgm:cxn modelId="{61ED6DCC-ED66-47DE-9354-6F49EFA2FC69}" type="presParOf" srcId="{A664BBF3-0279-4BDC-B809-ADEAD92BD943}" destId="{E7EA7F12-9801-4A25-A2CE-A16C5532A80B}" srcOrd="3" destOrd="0" presId="urn:microsoft.com/office/officeart/2005/8/layout/radial5"/>
    <dgm:cxn modelId="{6E7B2B83-7070-4AD4-9FCA-A4543005B9F7}" type="presParOf" srcId="{E7EA7F12-9801-4A25-A2CE-A16C5532A80B}" destId="{5EC7E7E5-36A0-48AC-864C-BC0E235858B9}" srcOrd="0" destOrd="0" presId="urn:microsoft.com/office/officeart/2005/8/layout/radial5"/>
    <dgm:cxn modelId="{BFDC0929-BD77-4EAF-9A2C-06073B295AF7}" type="presParOf" srcId="{A664BBF3-0279-4BDC-B809-ADEAD92BD943}" destId="{A3223469-BC2E-4BD9-85FF-5FFA11453AA4}" srcOrd="4" destOrd="0" presId="urn:microsoft.com/office/officeart/2005/8/layout/radial5"/>
    <dgm:cxn modelId="{E0DEB620-05EE-4466-9593-C4961B08F138}" type="presParOf" srcId="{A664BBF3-0279-4BDC-B809-ADEAD92BD943}" destId="{D816AAD5-5DAC-4C0C-82E7-790CF04B0F24}" srcOrd="5" destOrd="0" presId="urn:microsoft.com/office/officeart/2005/8/layout/radial5"/>
    <dgm:cxn modelId="{C6C48048-FEDA-4DEE-84E0-3677FDF3EDE0}" type="presParOf" srcId="{D816AAD5-5DAC-4C0C-82E7-790CF04B0F24}" destId="{45811956-AF79-4B9E-B2CC-4672A0C96537}" srcOrd="0" destOrd="0" presId="urn:microsoft.com/office/officeart/2005/8/layout/radial5"/>
    <dgm:cxn modelId="{1685F569-F576-4958-B945-913E899CADE0}" type="presParOf" srcId="{A664BBF3-0279-4BDC-B809-ADEAD92BD943}" destId="{9334D7D7-AF36-4DA1-AE9B-3D8F6C2AC894}" srcOrd="6" destOrd="0" presId="urn:microsoft.com/office/officeart/2005/8/layout/radial5"/>
    <dgm:cxn modelId="{E5B8F7AA-8D86-4B92-AEBE-18EAB0436B1F}" type="presParOf" srcId="{A664BBF3-0279-4BDC-B809-ADEAD92BD943}" destId="{4F49B0AE-741A-43EF-9A40-AB7E0912CBDD}" srcOrd="7" destOrd="0" presId="urn:microsoft.com/office/officeart/2005/8/layout/radial5"/>
    <dgm:cxn modelId="{8C85DD23-ACE7-403B-B2F9-E6527D060FAF}" type="presParOf" srcId="{4F49B0AE-741A-43EF-9A40-AB7E0912CBDD}" destId="{29914251-C56D-48BB-A3E3-60A6E707EB4C}" srcOrd="0" destOrd="0" presId="urn:microsoft.com/office/officeart/2005/8/layout/radial5"/>
    <dgm:cxn modelId="{8E20DE5F-0835-4694-AC88-E15361326259}" type="presParOf" srcId="{A664BBF3-0279-4BDC-B809-ADEAD92BD943}" destId="{388B3CD6-F2CB-470F-A643-38614261A63D}" srcOrd="8" destOrd="0" presId="urn:microsoft.com/office/officeart/2005/8/layout/radial5"/>
    <dgm:cxn modelId="{C3EB836C-DEFB-44B4-AB92-6D4B324234FA}" type="presParOf" srcId="{A664BBF3-0279-4BDC-B809-ADEAD92BD943}" destId="{CB6EE809-D961-490B-8AD5-D4A039B55F1D}" srcOrd="9" destOrd="0" presId="urn:microsoft.com/office/officeart/2005/8/layout/radial5"/>
    <dgm:cxn modelId="{8F42A3E4-D4F0-4038-B925-7C0CD2CAA257}" type="presParOf" srcId="{CB6EE809-D961-490B-8AD5-D4A039B55F1D}" destId="{88020EB1-F25F-49B9-8E8A-3329ED31C7BF}" srcOrd="0" destOrd="0" presId="urn:microsoft.com/office/officeart/2005/8/layout/radial5"/>
    <dgm:cxn modelId="{FF710522-8297-4AEF-80E2-7204346E374E}" type="presParOf" srcId="{A664BBF3-0279-4BDC-B809-ADEAD92BD943}" destId="{4159080B-1251-4A19-A33E-FD19A327D513}" srcOrd="10" destOrd="0" presId="urn:microsoft.com/office/officeart/2005/8/layout/radial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290994E-BA8A-41F0-A43D-E60F479FC030}" type="doc">
      <dgm:prSet loTypeId="urn:microsoft.com/office/officeart/2009/3/layout/StepUpProcess" loCatId="process" qsTypeId="urn:microsoft.com/office/officeart/2005/8/quickstyle/simple1" qsCatId="simple" csTypeId="urn:microsoft.com/office/officeart/2005/8/colors/accent0_3" csCatId="mainScheme" phldr="1"/>
      <dgm:spPr/>
      <dgm:t>
        <a:bodyPr/>
        <a:lstStyle/>
        <a:p>
          <a:endParaRPr lang="en-US"/>
        </a:p>
      </dgm:t>
    </dgm:pt>
    <dgm:pt modelId="{604F8E8C-6486-4DEE-8BD7-2393130A1DED}">
      <dgm:prSet phldrT="[Text]"/>
      <dgm:spPr/>
      <dgm:t>
        <a:bodyPr/>
        <a:lstStyle/>
        <a:p>
          <a:r>
            <a:rPr lang="en-US"/>
            <a:t>Use of existing resources</a:t>
          </a:r>
        </a:p>
      </dgm:t>
    </dgm:pt>
    <dgm:pt modelId="{88A24CD5-C51B-4170-9761-9FBC833BEEE9}" type="parTrans" cxnId="{6F909A25-50FB-4412-849B-9A9D29CF276F}">
      <dgm:prSet/>
      <dgm:spPr/>
      <dgm:t>
        <a:bodyPr/>
        <a:lstStyle/>
        <a:p>
          <a:endParaRPr lang="en-US"/>
        </a:p>
      </dgm:t>
    </dgm:pt>
    <dgm:pt modelId="{DC685DE4-64B7-4028-B518-07652A32E651}" type="sibTrans" cxnId="{6F909A25-50FB-4412-849B-9A9D29CF276F}">
      <dgm:prSet/>
      <dgm:spPr/>
      <dgm:t>
        <a:bodyPr/>
        <a:lstStyle/>
        <a:p>
          <a:endParaRPr lang="en-US"/>
        </a:p>
      </dgm:t>
    </dgm:pt>
    <dgm:pt modelId="{27F86AFB-801F-43F9-8ECB-435CC9608252}">
      <dgm:prSet phldrT="[Text]"/>
      <dgm:spPr/>
      <dgm:t>
        <a:bodyPr/>
        <a:lstStyle/>
        <a:p>
          <a:r>
            <a:rPr lang="en-US"/>
            <a:t>One stop shop for digital content</a:t>
          </a:r>
        </a:p>
      </dgm:t>
    </dgm:pt>
    <dgm:pt modelId="{893181C5-C8CD-440D-9172-AFEA3FAA8C26}" type="parTrans" cxnId="{001E5650-36C8-43FF-BF1A-D77E74D4FA15}">
      <dgm:prSet/>
      <dgm:spPr/>
      <dgm:t>
        <a:bodyPr/>
        <a:lstStyle/>
        <a:p>
          <a:endParaRPr lang="en-US"/>
        </a:p>
      </dgm:t>
    </dgm:pt>
    <dgm:pt modelId="{52BDA318-3DEB-4FFA-8A5D-9740AC4CFC96}" type="sibTrans" cxnId="{001E5650-36C8-43FF-BF1A-D77E74D4FA15}">
      <dgm:prSet/>
      <dgm:spPr/>
      <dgm:t>
        <a:bodyPr/>
        <a:lstStyle/>
        <a:p>
          <a:endParaRPr lang="en-US"/>
        </a:p>
      </dgm:t>
    </dgm:pt>
    <dgm:pt modelId="{63F3496E-B1F3-45C9-9087-F420EEC56D41}">
      <dgm:prSet phldrT="[Text]"/>
      <dgm:spPr/>
      <dgm:t>
        <a:bodyPr/>
        <a:lstStyle/>
        <a:p>
          <a:r>
            <a:rPr lang="en-US"/>
            <a:t>All 14,000 video lessons covering grade 1-9 to be added in one place</a:t>
          </a:r>
        </a:p>
      </dgm:t>
    </dgm:pt>
    <dgm:pt modelId="{078551D4-03AB-4316-96D3-3F9BBFBDC0B3}" type="parTrans" cxnId="{DAE96E87-3B2D-4BC9-89C2-EB5839498F95}">
      <dgm:prSet/>
      <dgm:spPr/>
      <dgm:t>
        <a:bodyPr/>
        <a:lstStyle/>
        <a:p>
          <a:endParaRPr lang="en-US"/>
        </a:p>
      </dgm:t>
    </dgm:pt>
    <dgm:pt modelId="{6CCDCDD3-6FCF-4B1A-8685-F0BEFD30FD6D}" type="sibTrans" cxnId="{DAE96E87-3B2D-4BC9-89C2-EB5839498F95}">
      <dgm:prSet/>
      <dgm:spPr/>
      <dgm:t>
        <a:bodyPr/>
        <a:lstStyle/>
        <a:p>
          <a:endParaRPr lang="en-US"/>
        </a:p>
      </dgm:t>
    </dgm:pt>
    <dgm:pt modelId="{808F68B6-417D-46B3-9C21-7238DE08E911}">
      <dgm:prSet phldrT="[Text]"/>
      <dgm:spPr/>
      <dgm:t>
        <a:bodyPr/>
        <a:lstStyle/>
        <a:p>
          <a:r>
            <a:rPr lang="en-US"/>
            <a:t>Unique user IDs for all users</a:t>
          </a:r>
        </a:p>
      </dgm:t>
    </dgm:pt>
    <dgm:pt modelId="{C8DA8C3B-A1FE-4EDD-92A6-86C68BBDB677}" type="parTrans" cxnId="{D4B19487-9536-4A8D-876F-B6A4C09379E3}">
      <dgm:prSet/>
      <dgm:spPr/>
      <dgm:t>
        <a:bodyPr/>
        <a:lstStyle/>
        <a:p>
          <a:endParaRPr lang="en-US"/>
        </a:p>
      </dgm:t>
    </dgm:pt>
    <dgm:pt modelId="{22F86403-8E57-4F93-B92F-C445CD45712B}" type="sibTrans" cxnId="{D4B19487-9536-4A8D-876F-B6A4C09379E3}">
      <dgm:prSet/>
      <dgm:spPr/>
      <dgm:t>
        <a:bodyPr/>
        <a:lstStyle/>
        <a:p>
          <a:endParaRPr lang="en-US"/>
        </a:p>
      </dgm:t>
    </dgm:pt>
    <dgm:pt modelId="{B6FE93FC-C9DA-491B-B2BC-7EA6C0D0D67E}">
      <dgm:prSet phldrT="[Text]"/>
      <dgm:spPr/>
      <dgm:t>
        <a:bodyPr/>
        <a:lstStyle/>
        <a:p>
          <a:r>
            <a:rPr lang="en-US"/>
            <a:t>Unique user ids track individual user progress.</a:t>
          </a:r>
        </a:p>
      </dgm:t>
    </dgm:pt>
    <dgm:pt modelId="{00FC5FA9-E721-4D39-849A-054AD71F17BF}" type="parTrans" cxnId="{EA888937-2FB4-4FE5-BC02-AC9D0C2CF06F}">
      <dgm:prSet/>
      <dgm:spPr/>
      <dgm:t>
        <a:bodyPr/>
        <a:lstStyle/>
        <a:p>
          <a:endParaRPr lang="en-US"/>
        </a:p>
      </dgm:t>
    </dgm:pt>
    <dgm:pt modelId="{0942F074-0E99-46BB-8CF8-E89CE42419E5}" type="sibTrans" cxnId="{EA888937-2FB4-4FE5-BC02-AC9D0C2CF06F}">
      <dgm:prSet/>
      <dgm:spPr/>
      <dgm:t>
        <a:bodyPr/>
        <a:lstStyle/>
        <a:p>
          <a:endParaRPr lang="en-US"/>
        </a:p>
      </dgm:t>
    </dgm:pt>
    <dgm:pt modelId="{8C7FD06E-51A0-4A36-B8A0-43351436C5CF}">
      <dgm:prSet phldrT="[Text]"/>
      <dgm:spPr/>
      <dgm:t>
        <a:bodyPr/>
        <a:lstStyle/>
        <a:p>
          <a:r>
            <a:rPr lang="en-US"/>
            <a:t>A</a:t>
          </a:r>
          <a:r>
            <a:rPr lang="en-US" baseline="0"/>
            <a:t> bigger transformation of classroom learning</a:t>
          </a:r>
          <a:endParaRPr lang="en-US"/>
        </a:p>
      </dgm:t>
    </dgm:pt>
    <dgm:pt modelId="{E22C8F49-8D80-4B1D-BF73-6F291E111A07}" type="parTrans" cxnId="{B13FD444-693B-4B20-A04E-2DC32BF1922A}">
      <dgm:prSet/>
      <dgm:spPr/>
      <dgm:t>
        <a:bodyPr/>
        <a:lstStyle/>
        <a:p>
          <a:endParaRPr lang="en-US"/>
        </a:p>
      </dgm:t>
    </dgm:pt>
    <dgm:pt modelId="{04E273D1-7417-452E-8E08-690F607B9E6E}" type="sibTrans" cxnId="{B13FD444-693B-4B20-A04E-2DC32BF1922A}">
      <dgm:prSet/>
      <dgm:spPr/>
      <dgm:t>
        <a:bodyPr/>
        <a:lstStyle/>
        <a:p>
          <a:endParaRPr lang="en-US"/>
        </a:p>
      </dgm:t>
    </dgm:pt>
    <dgm:pt modelId="{B6CA3504-89C4-42D6-BB8C-192FBEF47E9A}">
      <dgm:prSet phldrT="[Text]"/>
      <dgm:spPr/>
      <dgm:t>
        <a:bodyPr/>
        <a:lstStyle/>
        <a:p>
          <a:r>
            <a:rPr lang="en-US"/>
            <a:t>A comprehensive blended learning solution for all learners, even after COVID-19</a:t>
          </a:r>
        </a:p>
      </dgm:t>
    </dgm:pt>
    <dgm:pt modelId="{94E63603-ED1B-480A-A96F-AE2DB9D0B1A6}" type="parTrans" cxnId="{374D680E-DBC4-4955-9F9D-C4AC29A51941}">
      <dgm:prSet/>
      <dgm:spPr/>
      <dgm:t>
        <a:bodyPr/>
        <a:lstStyle/>
        <a:p>
          <a:endParaRPr lang="en-US"/>
        </a:p>
      </dgm:t>
    </dgm:pt>
    <dgm:pt modelId="{360E1FFD-3F48-42C0-B234-B121CD644622}" type="sibTrans" cxnId="{374D680E-DBC4-4955-9F9D-C4AC29A51941}">
      <dgm:prSet/>
      <dgm:spPr/>
      <dgm:t>
        <a:bodyPr/>
        <a:lstStyle/>
        <a:p>
          <a:endParaRPr lang="en-US"/>
        </a:p>
      </dgm:t>
    </dgm:pt>
    <dgm:pt modelId="{56C9E9AB-B8BB-419A-A832-DC32A985CDA1}">
      <dgm:prSet phldrT="[Text]"/>
      <dgm:spPr/>
      <dgm:t>
        <a:bodyPr/>
        <a:lstStyle/>
        <a:p>
          <a:r>
            <a:rPr lang="en-US"/>
            <a:t>Government </a:t>
          </a:r>
          <a:r>
            <a:rPr lang="en-US" i="1"/>
            <a:t>used existing MSFT licenses</a:t>
          </a:r>
          <a:r>
            <a:rPr lang="en-US"/>
            <a:t> to integrate LP within Microsoft Teams</a:t>
          </a:r>
        </a:p>
      </dgm:t>
    </dgm:pt>
    <dgm:pt modelId="{683E4B64-924D-4E47-9AA6-FCC58D83EC69}" type="parTrans" cxnId="{9752DFFA-16C2-4452-9AB3-110042C842D5}">
      <dgm:prSet/>
      <dgm:spPr/>
      <dgm:t>
        <a:bodyPr/>
        <a:lstStyle/>
        <a:p>
          <a:endParaRPr lang="en-US"/>
        </a:p>
      </dgm:t>
    </dgm:pt>
    <dgm:pt modelId="{6C477C03-F3E9-4C90-B70A-33B35E192A77}" type="sibTrans" cxnId="{9752DFFA-16C2-4452-9AB3-110042C842D5}">
      <dgm:prSet/>
      <dgm:spPr/>
      <dgm:t>
        <a:bodyPr/>
        <a:lstStyle/>
        <a:p>
          <a:endParaRPr lang="en-US"/>
        </a:p>
      </dgm:t>
    </dgm:pt>
    <dgm:pt modelId="{7BF91F92-5469-474A-9DCC-9B58E8721EBE}">
      <dgm:prSet phldrT="[Text]"/>
      <dgm:spPr/>
      <dgm:t>
        <a:bodyPr/>
        <a:lstStyle/>
        <a:p>
          <a:r>
            <a:rPr lang="en-US"/>
            <a:t>With integration, platform offers </a:t>
          </a:r>
          <a:r>
            <a:rPr lang="en-US" i="1"/>
            <a:t>content, audio, and video conferencing functionalities </a:t>
          </a:r>
          <a:r>
            <a:rPr lang="en-US"/>
            <a:t>to every student and teacher</a:t>
          </a:r>
        </a:p>
      </dgm:t>
    </dgm:pt>
    <dgm:pt modelId="{C580E421-E301-4AD5-A3AE-7693FD3EE110}" type="parTrans" cxnId="{D001D26C-9D6A-4D23-913F-4F15B31F0B81}">
      <dgm:prSet/>
      <dgm:spPr/>
      <dgm:t>
        <a:bodyPr/>
        <a:lstStyle/>
        <a:p>
          <a:endParaRPr lang="en-US"/>
        </a:p>
      </dgm:t>
    </dgm:pt>
    <dgm:pt modelId="{BBEF5E85-1C0B-4F92-B129-A33262495273}" type="sibTrans" cxnId="{D001D26C-9D6A-4D23-913F-4F15B31F0B81}">
      <dgm:prSet/>
      <dgm:spPr/>
      <dgm:t>
        <a:bodyPr/>
        <a:lstStyle/>
        <a:p>
          <a:endParaRPr lang="en-US"/>
        </a:p>
      </dgm:t>
    </dgm:pt>
    <dgm:pt modelId="{21C1BD19-8330-4F43-96B2-F5E10D46F09F}">
      <dgm:prSet phldrT="[Text]"/>
      <dgm:spPr/>
      <dgm:t>
        <a:bodyPr/>
        <a:lstStyle/>
        <a:p>
          <a:r>
            <a:rPr lang="en-US"/>
            <a:t>Administrator privileges to teachers to create courses and assign lessons to learners, as needed</a:t>
          </a:r>
        </a:p>
      </dgm:t>
    </dgm:pt>
    <dgm:pt modelId="{BDDE07B3-46B3-455B-8B90-944E51AD0302}" type="parTrans" cxnId="{2F168A73-004B-4FF0-B0CC-9A36A1E8E09A}">
      <dgm:prSet/>
      <dgm:spPr/>
      <dgm:t>
        <a:bodyPr/>
        <a:lstStyle/>
        <a:p>
          <a:endParaRPr lang="en-US"/>
        </a:p>
      </dgm:t>
    </dgm:pt>
    <dgm:pt modelId="{DA0624C3-67F2-42DD-95D0-533CBE94058C}" type="sibTrans" cxnId="{2F168A73-004B-4FF0-B0CC-9A36A1E8E09A}">
      <dgm:prSet/>
      <dgm:spPr/>
      <dgm:t>
        <a:bodyPr/>
        <a:lstStyle/>
        <a:p>
          <a:endParaRPr lang="en-US"/>
        </a:p>
      </dgm:t>
    </dgm:pt>
    <dgm:pt modelId="{9220CE4D-6F74-460E-8560-039CC223AF04}" type="pres">
      <dgm:prSet presAssocID="{5290994E-BA8A-41F0-A43D-E60F479FC030}" presName="rootnode" presStyleCnt="0">
        <dgm:presLayoutVars>
          <dgm:chMax/>
          <dgm:chPref/>
          <dgm:dir/>
          <dgm:animLvl val="lvl"/>
        </dgm:presLayoutVars>
      </dgm:prSet>
      <dgm:spPr/>
    </dgm:pt>
    <dgm:pt modelId="{F013C751-15E5-49A0-AA22-2A4E4DB95BB6}" type="pres">
      <dgm:prSet presAssocID="{604F8E8C-6486-4DEE-8BD7-2393130A1DED}" presName="composite" presStyleCnt="0"/>
      <dgm:spPr/>
    </dgm:pt>
    <dgm:pt modelId="{10D76B47-CEDD-4682-8FAD-609E38E404E0}" type="pres">
      <dgm:prSet presAssocID="{604F8E8C-6486-4DEE-8BD7-2393130A1DED}" presName="LShape" presStyleLbl="alignNode1" presStyleIdx="0" presStyleCnt="7"/>
      <dgm:spPr/>
    </dgm:pt>
    <dgm:pt modelId="{D4378F86-7C92-4B7E-A0B3-A233E5C61980}" type="pres">
      <dgm:prSet presAssocID="{604F8E8C-6486-4DEE-8BD7-2393130A1DED}" presName="ParentText" presStyleLbl="revTx" presStyleIdx="0" presStyleCnt="4" custLinFactNeighborX="403" custLinFactNeighborY="-885">
        <dgm:presLayoutVars>
          <dgm:chMax val="0"/>
          <dgm:chPref val="0"/>
          <dgm:bulletEnabled val="1"/>
        </dgm:presLayoutVars>
      </dgm:prSet>
      <dgm:spPr/>
    </dgm:pt>
    <dgm:pt modelId="{92EAE538-BD26-47D1-B008-EF54650A2C9D}" type="pres">
      <dgm:prSet presAssocID="{604F8E8C-6486-4DEE-8BD7-2393130A1DED}" presName="Triangle" presStyleLbl="alignNode1" presStyleIdx="1" presStyleCnt="7"/>
      <dgm:spPr/>
    </dgm:pt>
    <dgm:pt modelId="{DF2C1D6B-994E-47D2-A37A-77055BBE6BA6}" type="pres">
      <dgm:prSet presAssocID="{DC685DE4-64B7-4028-B518-07652A32E651}" presName="sibTrans" presStyleCnt="0"/>
      <dgm:spPr/>
    </dgm:pt>
    <dgm:pt modelId="{7703EB99-79BB-4568-996A-A2DAD96AE77D}" type="pres">
      <dgm:prSet presAssocID="{DC685DE4-64B7-4028-B518-07652A32E651}" presName="space" presStyleCnt="0"/>
      <dgm:spPr/>
    </dgm:pt>
    <dgm:pt modelId="{9B0362F7-508A-4A26-9D37-201F54AFEA77}" type="pres">
      <dgm:prSet presAssocID="{27F86AFB-801F-43F9-8ECB-435CC9608252}" presName="composite" presStyleCnt="0"/>
      <dgm:spPr/>
    </dgm:pt>
    <dgm:pt modelId="{1904CEF9-3B90-474E-82A4-B444486C5DA5}" type="pres">
      <dgm:prSet presAssocID="{27F86AFB-801F-43F9-8ECB-435CC9608252}" presName="LShape" presStyleLbl="alignNode1" presStyleIdx="2" presStyleCnt="7"/>
      <dgm:spPr/>
    </dgm:pt>
    <dgm:pt modelId="{C99AFA27-A1E5-492F-98C7-7CCA1360051E}" type="pres">
      <dgm:prSet presAssocID="{27F86AFB-801F-43F9-8ECB-435CC9608252}" presName="ParentText" presStyleLbl="revTx" presStyleIdx="1" presStyleCnt="4">
        <dgm:presLayoutVars>
          <dgm:chMax val="0"/>
          <dgm:chPref val="0"/>
          <dgm:bulletEnabled val="1"/>
        </dgm:presLayoutVars>
      </dgm:prSet>
      <dgm:spPr/>
    </dgm:pt>
    <dgm:pt modelId="{BB975A51-79AA-48EE-A2FE-64EEE2BBE193}" type="pres">
      <dgm:prSet presAssocID="{27F86AFB-801F-43F9-8ECB-435CC9608252}" presName="Triangle" presStyleLbl="alignNode1" presStyleIdx="3" presStyleCnt="7"/>
      <dgm:spPr/>
    </dgm:pt>
    <dgm:pt modelId="{F1E560CE-5B8C-4C0C-BF36-31936A2B81F5}" type="pres">
      <dgm:prSet presAssocID="{52BDA318-3DEB-4FFA-8A5D-9740AC4CFC96}" presName="sibTrans" presStyleCnt="0"/>
      <dgm:spPr/>
    </dgm:pt>
    <dgm:pt modelId="{C1F3EED0-BA11-4097-BA02-C15E141BFDD2}" type="pres">
      <dgm:prSet presAssocID="{52BDA318-3DEB-4FFA-8A5D-9740AC4CFC96}" presName="space" presStyleCnt="0"/>
      <dgm:spPr/>
    </dgm:pt>
    <dgm:pt modelId="{A1761D82-B110-467F-BA0B-B29FAA250068}" type="pres">
      <dgm:prSet presAssocID="{808F68B6-417D-46B3-9C21-7238DE08E911}" presName="composite" presStyleCnt="0"/>
      <dgm:spPr/>
    </dgm:pt>
    <dgm:pt modelId="{780E5865-3885-43C3-82D6-D52FE9A67ABD}" type="pres">
      <dgm:prSet presAssocID="{808F68B6-417D-46B3-9C21-7238DE08E911}" presName="LShape" presStyleLbl="alignNode1" presStyleIdx="4" presStyleCnt="7"/>
      <dgm:spPr/>
    </dgm:pt>
    <dgm:pt modelId="{BDDC106A-933C-4D90-87CB-2594018B4A35}" type="pres">
      <dgm:prSet presAssocID="{808F68B6-417D-46B3-9C21-7238DE08E911}" presName="ParentText" presStyleLbl="revTx" presStyleIdx="2" presStyleCnt="4" custLinFactNeighborX="653" custLinFactNeighborY="135">
        <dgm:presLayoutVars>
          <dgm:chMax val="0"/>
          <dgm:chPref val="0"/>
          <dgm:bulletEnabled val="1"/>
        </dgm:presLayoutVars>
      </dgm:prSet>
      <dgm:spPr/>
    </dgm:pt>
    <dgm:pt modelId="{9BBFCA60-E49D-4739-8C6B-8C7AA89A2D92}" type="pres">
      <dgm:prSet presAssocID="{808F68B6-417D-46B3-9C21-7238DE08E911}" presName="Triangle" presStyleLbl="alignNode1" presStyleIdx="5" presStyleCnt="7"/>
      <dgm:spPr/>
    </dgm:pt>
    <dgm:pt modelId="{EEF30E40-2325-4B36-B435-BA03C95B4304}" type="pres">
      <dgm:prSet presAssocID="{22F86403-8E57-4F93-B92F-C445CD45712B}" presName="sibTrans" presStyleCnt="0"/>
      <dgm:spPr/>
    </dgm:pt>
    <dgm:pt modelId="{3619A939-A9F7-4B15-9AAA-47A8DD68D75B}" type="pres">
      <dgm:prSet presAssocID="{22F86403-8E57-4F93-B92F-C445CD45712B}" presName="space" presStyleCnt="0"/>
      <dgm:spPr/>
    </dgm:pt>
    <dgm:pt modelId="{6600BDF6-DF6E-4C7A-BA49-3DCF033C8982}" type="pres">
      <dgm:prSet presAssocID="{8C7FD06E-51A0-4A36-B8A0-43351436C5CF}" presName="composite" presStyleCnt="0"/>
      <dgm:spPr/>
    </dgm:pt>
    <dgm:pt modelId="{8516320E-15E7-4229-93BC-036111E63FC5}" type="pres">
      <dgm:prSet presAssocID="{8C7FD06E-51A0-4A36-B8A0-43351436C5CF}" presName="LShape" presStyleLbl="alignNode1" presStyleIdx="6" presStyleCnt="7"/>
      <dgm:spPr/>
    </dgm:pt>
    <dgm:pt modelId="{DC13C004-75F3-4E1B-9229-9934DC65BA4D}" type="pres">
      <dgm:prSet presAssocID="{8C7FD06E-51A0-4A36-B8A0-43351436C5CF}" presName="ParentText" presStyleLbl="revTx" presStyleIdx="3" presStyleCnt="4" custLinFactNeighborX="-825" custLinFactNeighborY="-636">
        <dgm:presLayoutVars>
          <dgm:chMax val="0"/>
          <dgm:chPref val="0"/>
          <dgm:bulletEnabled val="1"/>
        </dgm:presLayoutVars>
      </dgm:prSet>
      <dgm:spPr/>
    </dgm:pt>
  </dgm:ptLst>
  <dgm:cxnLst>
    <dgm:cxn modelId="{108F930C-C8A0-498F-B377-D49A8F1BFEA8}" type="presOf" srcId="{8C7FD06E-51A0-4A36-B8A0-43351436C5CF}" destId="{DC13C004-75F3-4E1B-9229-9934DC65BA4D}" srcOrd="0" destOrd="0" presId="urn:microsoft.com/office/officeart/2009/3/layout/StepUpProcess"/>
    <dgm:cxn modelId="{374D680E-DBC4-4955-9F9D-C4AC29A51941}" srcId="{8C7FD06E-51A0-4A36-B8A0-43351436C5CF}" destId="{B6CA3504-89C4-42D6-BB8C-192FBEF47E9A}" srcOrd="0" destOrd="0" parTransId="{94E63603-ED1B-480A-A96F-AE2DB9D0B1A6}" sibTransId="{360E1FFD-3F48-42C0-B234-B121CD644622}"/>
    <dgm:cxn modelId="{929CB31E-7BB2-490D-8D66-6815C618A023}" type="presOf" srcId="{63F3496E-B1F3-45C9-9087-F420EEC56D41}" destId="{C99AFA27-A1E5-492F-98C7-7CCA1360051E}" srcOrd="0" destOrd="1" presId="urn:microsoft.com/office/officeart/2009/3/layout/StepUpProcess"/>
    <dgm:cxn modelId="{321CE024-2547-435C-BA91-04E75B14394A}" type="presOf" srcId="{56C9E9AB-B8BB-419A-A832-DC32A985CDA1}" destId="{D4378F86-7C92-4B7E-A0B3-A233E5C61980}" srcOrd="0" destOrd="1" presId="urn:microsoft.com/office/officeart/2009/3/layout/StepUpProcess"/>
    <dgm:cxn modelId="{6F909A25-50FB-4412-849B-9A9D29CF276F}" srcId="{5290994E-BA8A-41F0-A43D-E60F479FC030}" destId="{604F8E8C-6486-4DEE-8BD7-2393130A1DED}" srcOrd="0" destOrd="0" parTransId="{88A24CD5-C51B-4170-9761-9FBC833BEEE9}" sibTransId="{DC685DE4-64B7-4028-B518-07652A32E651}"/>
    <dgm:cxn modelId="{5A12D725-6196-421A-93A8-7E4FF15ADF75}" type="presOf" srcId="{808F68B6-417D-46B3-9C21-7238DE08E911}" destId="{BDDC106A-933C-4D90-87CB-2594018B4A35}" srcOrd="0" destOrd="0" presId="urn:microsoft.com/office/officeart/2009/3/layout/StepUpProcess"/>
    <dgm:cxn modelId="{0775FE31-2A50-4C3E-AB4C-474BE4018B2F}" type="presOf" srcId="{5290994E-BA8A-41F0-A43D-E60F479FC030}" destId="{9220CE4D-6F74-460E-8560-039CC223AF04}" srcOrd="0" destOrd="0" presId="urn:microsoft.com/office/officeart/2009/3/layout/StepUpProcess"/>
    <dgm:cxn modelId="{EA888937-2FB4-4FE5-BC02-AC9D0C2CF06F}" srcId="{808F68B6-417D-46B3-9C21-7238DE08E911}" destId="{B6FE93FC-C9DA-491B-B2BC-7EA6C0D0D67E}" srcOrd="0" destOrd="0" parTransId="{00FC5FA9-E721-4D39-849A-054AD71F17BF}" sibTransId="{0942F074-0E99-46BB-8CF8-E89CE42419E5}"/>
    <dgm:cxn modelId="{B13FD444-693B-4B20-A04E-2DC32BF1922A}" srcId="{5290994E-BA8A-41F0-A43D-E60F479FC030}" destId="{8C7FD06E-51A0-4A36-B8A0-43351436C5CF}" srcOrd="3" destOrd="0" parTransId="{E22C8F49-8D80-4B1D-BF73-6F291E111A07}" sibTransId="{04E273D1-7417-452E-8E08-690F607B9E6E}"/>
    <dgm:cxn modelId="{8D92B14C-04DE-40D9-847E-240181D75D73}" type="presOf" srcId="{21C1BD19-8330-4F43-96B2-F5E10D46F09F}" destId="{BDDC106A-933C-4D90-87CB-2594018B4A35}" srcOrd="0" destOrd="2" presId="urn:microsoft.com/office/officeart/2009/3/layout/StepUpProcess"/>
    <dgm:cxn modelId="{D001D26C-9D6A-4D23-913F-4F15B31F0B81}" srcId="{604F8E8C-6486-4DEE-8BD7-2393130A1DED}" destId="{7BF91F92-5469-474A-9DCC-9B58E8721EBE}" srcOrd="1" destOrd="0" parTransId="{C580E421-E301-4AD5-A3AE-7693FD3EE110}" sibTransId="{BBEF5E85-1C0B-4F92-B129-A33262495273}"/>
    <dgm:cxn modelId="{001E5650-36C8-43FF-BF1A-D77E74D4FA15}" srcId="{5290994E-BA8A-41F0-A43D-E60F479FC030}" destId="{27F86AFB-801F-43F9-8ECB-435CC9608252}" srcOrd="1" destOrd="0" parTransId="{893181C5-C8CD-440D-9172-AFEA3FAA8C26}" sibTransId="{52BDA318-3DEB-4FFA-8A5D-9740AC4CFC96}"/>
    <dgm:cxn modelId="{2F168A73-004B-4FF0-B0CC-9A36A1E8E09A}" srcId="{808F68B6-417D-46B3-9C21-7238DE08E911}" destId="{21C1BD19-8330-4F43-96B2-F5E10D46F09F}" srcOrd="1" destOrd="0" parTransId="{BDDE07B3-46B3-455B-8B90-944E51AD0302}" sibTransId="{DA0624C3-67F2-42DD-95D0-533CBE94058C}"/>
    <dgm:cxn modelId="{FF1F717E-39B6-4C6A-B24C-CE662CBB2164}" type="presOf" srcId="{7BF91F92-5469-474A-9DCC-9B58E8721EBE}" destId="{D4378F86-7C92-4B7E-A0B3-A233E5C61980}" srcOrd="0" destOrd="2" presId="urn:microsoft.com/office/officeart/2009/3/layout/StepUpProcess"/>
    <dgm:cxn modelId="{DAE96E87-3B2D-4BC9-89C2-EB5839498F95}" srcId="{27F86AFB-801F-43F9-8ECB-435CC9608252}" destId="{63F3496E-B1F3-45C9-9087-F420EEC56D41}" srcOrd="0" destOrd="0" parTransId="{078551D4-03AB-4316-96D3-3F9BBFBDC0B3}" sibTransId="{6CCDCDD3-6FCF-4B1A-8685-F0BEFD30FD6D}"/>
    <dgm:cxn modelId="{D4B19487-9536-4A8D-876F-B6A4C09379E3}" srcId="{5290994E-BA8A-41F0-A43D-E60F479FC030}" destId="{808F68B6-417D-46B3-9C21-7238DE08E911}" srcOrd="2" destOrd="0" parTransId="{C8DA8C3B-A1FE-4EDD-92A6-86C68BBDB677}" sibTransId="{22F86403-8E57-4F93-B92F-C445CD45712B}"/>
    <dgm:cxn modelId="{913DECC2-BA34-4490-B15F-322676A7B709}" type="presOf" srcId="{B6CA3504-89C4-42D6-BB8C-192FBEF47E9A}" destId="{DC13C004-75F3-4E1B-9229-9934DC65BA4D}" srcOrd="0" destOrd="1" presId="urn:microsoft.com/office/officeart/2009/3/layout/StepUpProcess"/>
    <dgm:cxn modelId="{33B96DCF-1333-415C-844F-3B4E364E0656}" type="presOf" srcId="{604F8E8C-6486-4DEE-8BD7-2393130A1DED}" destId="{D4378F86-7C92-4B7E-A0B3-A233E5C61980}" srcOrd="0" destOrd="0" presId="urn:microsoft.com/office/officeart/2009/3/layout/StepUpProcess"/>
    <dgm:cxn modelId="{C06459D4-99F0-48EC-B5F5-C1841FFAF50F}" type="presOf" srcId="{B6FE93FC-C9DA-491B-B2BC-7EA6C0D0D67E}" destId="{BDDC106A-933C-4D90-87CB-2594018B4A35}" srcOrd="0" destOrd="1" presId="urn:microsoft.com/office/officeart/2009/3/layout/StepUpProcess"/>
    <dgm:cxn modelId="{A55DD5EC-5FBF-447F-9E8B-BE714DC6073A}" type="presOf" srcId="{27F86AFB-801F-43F9-8ECB-435CC9608252}" destId="{C99AFA27-A1E5-492F-98C7-7CCA1360051E}" srcOrd="0" destOrd="0" presId="urn:microsoft.com/office/officeart/2009/3/layout/StepUpProcess"/>
    <dgm:cxn modelId="{9752DFFA-16C2-4452-9AB3-110042C842D5}" srcId="{604F8E8C-6486-4DEE-8BD7-2393130A1DED}" destId="{56C9E9AB-B8BB-419A-A832-DC32A985CDA1}" srcOrd="0" destOrd="0" parTransId="{683E4B64-924D-4E47-9AA6-FCC58D83EC69}" sibTransId="{6C477C03-F3E9-4C90-B70A-33B35E192A77}"/>
    <dgm:cxn modelId="{74157B47-1003-4992-8EB9-F100FF0EDFB0}" type="presParOf" srcId="{9220CE4D-6F74-460E-8560-039CC223AF04}" destId="{F013C751-15E5-49A0-AA22-2A4E4DB95BB6}" srcOrd="0" destOrd="0" presId="urn:microsoft.com/office/officeart/2009/3/layout/StepUpProcess"/>
    <dgm:cxn modelId="{98121109-F710-457D-9B7B-AE35D346F228}" type="presParOf" srcId="{F013C751-15E5-49A0-AA22-2A4E4DB95BB6}" destId="{10D76B47-CEDD-4682-8FAD-609E38E404E0}" srcOrd="0" destOrd="0" presId="urn:microsoft.com/office/officeart/2009/3/layout/StepUpProcess"/>
    <dgm:cxn modelId="{2497F432-3837-484C-B7E1-2A8BB2C060D3}" type="presParOf" srcId="{F013C751-15E5-49A0-AA22-2A4E4DB95BB6}" destId="{D4378F86-7C92-4B7E-A0B3-A233E5C61980}" srcOrd="1" destOrd="0" presId="urn:microsoft.com/office/officeart/2009/3/layout/StepUpProcess"/>
    <dgm:cxn modelId="{695C61F0-1AE9-4D91-84A2-C845049194E9}" type="presParOf" srcId="{F013C751-15E5-49A0-AA22-2A4E4DB95BB6}" destId="{92EAE538-BD26-47D1-B008-EF54650A2C9D}" srcOrd="2" destOrd="0" presId="urn:microsoft.com/office/officeart/2009/3/layout/StepUpProcess"/>
    <dgm:cxn modelId="{C023CCEF-F33C-405F-982F-3DC230BF0F4B}" type="presParOf" srcId="{9220CE4D-6F74-460E-8560-039CC223AF04}" destId="{DF2C1D6B-994E-47D2-A37A-77055BBE6BA6}" srcOrd="1" destOrd="0" presId="urn:microsoft.com/office/officeart/2009/3/layout/StepUpProcess"/>
    <dgm:cxn modelId="{E70BD4E3-4295-4D73-9137-6AB3F6364607}" type="presParOf" srcId="{DF2C1D6B-994E-47D2-A37A-77055BBE6BA6}" destId="{7703EB99-79BB-4568-996A-A2DAD96AE77D}" srcOrd="0" destOrd="0" presId="urn:microsoft.com/office/officeart/2009/3/layout/StepUpProcess"/>
    <dgm:cxn modelId="{2331992E-50CF-430B-8C38-FF38CE3516FE}" type="presParOf" srcId="{9220CE4D-6F74-460E-8560-039CC223AF04}" destId="{9B0362F7-508A-4A26-9D37-201F54AFEA77}" srcOrd="2" destOrd="0" presId="urn:microsoft.com/office/officeart/2009/3/layout/StepUpProcess"/>
    <dgm:cxn modelId="{CE6B2B5F-116D-4789-B56D-237074CEE08A}" type="presParOf" srcId="{9B0362F7-508A-4A26-9D37-201F54AFEA77}" destId="{1904CEF9-3B90-474E-82A4-B444486C5DA5}" srcOrd="0" destOrd="0" presId="urn:microsoft.com/office/officeart/2009/3/layout/StepUpProcess"/>
    <dgm:cxn modelId="{21F64FDB-8CA1-4AC1-9FD2-DB2F454D8D2D}" type="presParOf" srcId="{9B0362F7-508A-4A26-9D37-201F54AFEA77}" destId="{C99AFA27-A1E5-492F-98C7-7CCA1360051E}" srcOrd="1" destOrd="0" presId="urn:microsoft.com/office/officeart/2009/3/layout/StepUpProcess"/>
    <dgm:cxn modelId="{BB1449F4-A42B-450F-B66A-5D268CBBE202}" type="presParOf" srcId="{9B0362F7-508A-4A26-9D37-201F54AFEA77}" destId="{BB975A51-79AA-48EE-A2FE-64EEE2BBE193}" srcOrd="2" destOrd="0" presId="urn:microsoft.com/office/officeart/2009/3/layout/StepUpProcess"/>
    <dgm:cxn modelId="{9C22C07F-DA37-46AA-A4DB-FE16F19F12A3}" type="presParOf" srcId="{9220CE4D-6F74-460E-8560-039CC223AF04}" destId="{F1E560CE-5B8C-4C0C-BF36-31936A2B81F5}" srcOrd="3" destOrd="0" presId="urn:microsoft.com/office/officeart/2009/3/layout/StepUpProcess"/>
    <dgm:cxn modelId="{EA430856-C4CD-4FFB-8A07-A892B628CA78}" type="presParOf" srcId="{F1E560CE-5B8C-4C0C-BF36-31936A2B81F5}" destId="{C1F3EED0-BA11-4097-BA02-C15E141BFDD2}" srcOrd="0" destOrd="0" presId="urn:microsoft.com/office/officeart/2009/3/layout/StepUpProcess"/>
    <dgm:cxn modelId="{22D22A61-6DA8-42AE-8308-7B950ACF204B}" type="presParOf" srcId="{9220CE4D-6F74-460E-8560-039CC223AF04}" destId="{A1761D82-B110-467F-BA0B-B29FAA250068}" srcOrd="4" destOrd="0" presId="urn:microsoft.com/office/officeart/2009/3/layout/StepUpProcess"/>
    <dgm:cxn modelId="{8D17E26B-A098-4E80-A13F-4E9962618B9D}" type="presParOf" srcId="{A1761D82-B110-467F-BA0B-B29FAA250068}" destId="{780E5865-3885-43C3-82D6-D52FE9A67ABD}" srcOrd="0" destOrd="0" presId="urn:microsoft.com/office/officeart/2009/3/layout/StepUpProcess"/>
    <dgm:cxn modelId="{91B932C1-2867-4B9F-B9AD-8B1FC50B996B}" type="presParOf" srcId="{A1761D82-B110-467F-BA0B-B29FAA250068}" destId="{BDDC106A-933C-4D90-87CB-2594018B4A35}" srcOrd="1" destOrd="0" presId="urn:microsoft.com/office/officeart/2009/3/layout/StepUpProcess"/>
    <dgm:cxn modelId="{148FF83F-34EE-40CF-BBF7-62AF1E3ED35E}" type="presParOf" srcId="{A1761D82-B110-467F-BA0B-B29FAA250068}" destId="{9BBFCA60-E49D-4739-8C6B-8C7AA89A2D92}" srcOrd="2" destOrd="0" presId="urn:microsoft.com/office/officeart/2009/3/layout/StepUpProcess"/>
    <dgm:cxn modelId="{1EB78305-D15D-496E-A778-2E7C69A57463}" type="presParOf" srcId="{9220CE4D-6F74-460E-8560-039CC223AF04}" destId="{EEF30E40-2325-4B36-B435-BA03C95B4304}" srcOrd="5" destOrd="0" presId="urn:microsoft.com/office/officeart/2009/3/layout/StepUpProcess"/>
    <dgm:cxn modelId="{352612AD-4B9B-462B-A580-400A55B9169E}" type="presParOf" srcId="{EEF30E40-2325-4B36-B435-BA03C95B4304}" destId="{3619A939-A9F7-4B15-9AAA-47A8DD68D75B}" srcOrd="0" destOrd="0" presId="urn:microsoft.com/office/officeart/2009/3/layout/StepUpProcess"/>
    <dgm:cxn modelId="{78EAD0BF-B8CE-48E0-A90E-43F9D166F669}" type="presParOf" srcId="{9220CE4D-6F74-460E-8560-039CC223AF04}" destId="{6600BDF6-DF6E-4C7A-BA49-3DCF033C8982}" srcOrd="6" destOrd="0" presId="urn:microsoft.com/office/officeart/2009/3/layout/StepUpProcess"/>
    <dgm:cxn modelId="{ADD5D3E6-914B-4FD4-9213-B66D52C1FBFA}" type="presParOf" srcId="{6600BDF6-DF6E-4C7A-BA49-3DCF033C8982}" destId="{8516320E-15E7-4229-93BC-036111E63FC5}" srcOrd="0" destOrd="0" presId="urn:microsoft.com/office/officeart/2009/3/layout/StepUpProcess"/>
    <dgm:cxn modelId="{CE2464C1-0A59-4888-8D58-7E7597B2C78F}" type="presParOf" srcId="{6600BDF6-DF6E-4C7A-BA49-3DCF033C8982}" destId="{DC13C004-75F3-4E1B-9229-9934DC65BA4D}"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156327-53C4-4AEC-AE87-A52209D71F14}">
      <dsp:nvSpPr>
        <dsp:cNvPr id="0" name=""/>
        <dsp:cNvSpPr/>
      </dsp:nvSpPr>
      <dsp:spPr>
        <a:xfrm>
          <a:off x="2250699" y="1440718"/>
          <a:ext cx="1070890" cy="1090819"/>
        </a:xfrm>
        <a:prstGeom prst="ellipse">
          <a:avLst/>
        </a:prstGeom>
        <a:solidFill>
          <a:srgbClr val="FFC00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a:solidFill>
                <a:sysClr val="windowText" lastClr="000000"/>
              </a:solidFill>
            </a:rPr>
            <a:t>Use Cases</a:t>
          </a:r>
        </a:p>
      </dsp:txBody>
      <dsp:txXfrm>
        <a:off x="2407527" y="1600465"/>
        <a:ext cx="757234" cy="771325"/>
      </dsp:txXfrm>
    </dsp:sp>
    <dsp:sp modelId="{227472EF-9EC5-4145-AE56-86151B7084AE}">
      <dsp:nvSpPr>
        <dsp:cNvPr id="0" name=""/>
        <dsp:cNvSpPr/>
      </dsp:nvSpPr>
      <dsp:spPr>
        <a:xfrm rot="16200000">
          <a:off x="2724969" y="1151186"/>
          <a:ext cx="122350" cy="355141"/>
        </a:xfrm>
        <a:prstGeom prst="rightArrow">
          <a:avLst>
            <a:gd name="adj1" fmla="val 60000"/>
            <a:gd name="adj2" fmla="val 50000"/>
          </a:avLst>
        </a:prstGeom>
        <a:solidFill>
          <a:srgbClr val="FF7C8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743322" y="1240567"/>
        <a:ext cx="85645" cy="213085"/>
      </dsp:txXfrm>
    </dsp:sp>
    <dsp:sp modelId="{4631FE6F-D199-4D61-B399-82B2552896C1}">
      <dsp:nvSpPr>
        <dsp:cNvPr id="0" name=""/>
        <dsp:cNvSpPr/>
      </dsp:nvSpPr>
      <dsp:spPr>
        <a:xfrm>
          <a:off x="2125774" y="-160015"/>
          <a:ext cx="1320739" cy="1369885"/>
        </a:xfrm>
        <a:prstGeom prst="ellipse">
          <a:avLst/>
        </a:prstGeom>
        <a:solidFill>
          <a:srgbClr val="FF7C8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Early Childhood Education </a:t>
          </a:r>
          <a:br>
            <a:rPr lang="en-US" sz="1400" b="1" kern="1200"/>
          </a:br>
          <a:r>
            <a:rPr lang="en-US" sz="1400" b="1" kern="1200"/>
            <a:t>&amp; Parents</a:t>
          </a:r>
        </a:p>
      </dsp:txBody>
      <dsp:txXfrm>
        <a:off x="2319192" y="40600"/>
        <a:ext cx="933903" cy="968655"/>
      </dsp:txXfrm>
    </dsp:sp>
    <dsp:sp modelId="{E7EA7F12-9801-4A25-A2CE-A16C5532A80B}">
      <dsp:nvSpPr>
        <dsp:cNvPr id="0" name=""/>
        <dsp:cNvSpPr/>
      </dsp:nvSpPr>
      <dsp:spPr>
        <a:xfrm rot="20520000">
          <a:off x="3335380" y="1612940"/>
          <a:ext cx="105627" cy="355141"/>
        </a:xfrm>
        <a:prstGeom prst="rightArrow">
          <a:avLst>
            <a:gd name="adj1" fmla="val 60000"/>
            <a:gd name="adj2" fmla="val 50000"/>
          </a:avLst>
        </a:prstGeom>
        <a:solidFill>
          <a:srgbClr val="48D49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336155" y="1688864"/>
        <a:ext cx="73939" cy="213085"/>
      </dsp:txXfrm>
    </dsp:sp>
    <dsp:sp modelId="{A3223469-BC2E-4BD9-85FF-5FFA11453AA4}">
      <dsp:nvSpPr>
        <dsp:cNvPr id="0" name=""/>
        <dsp:cNvSpPr/>
      </dsp:nvSpPr>
      <dsp:spPr>
        <a:xfrm>
          <a:off x="3450845" y="803815"/>
          <a:ext cx="1449969" cy="1461553"/>
        </a:xfrm>
        <a:prstGeom prst="ellipse">
          <a:avLst/>
        </a:prstGeom>
        <a:solidFill>
          <a:srgbClr val="48D49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Primary &amp; Secondary Education</a:t>
          </a:r>
        </a:p>
      </dsp:txBody>
      <dsp:txXfrm>
        <a:off x="3663188" y="1017854"/>
        <a:ext cx="1025283" cy="1033475"/>
      </dsp:txXfrm>
    </dsp:sp>
    <dsp:sp modelId="{D816AAD5-5DAC-4C0C-82E7-790CF04B0F24}">
      <dsp:nvSpPr>
        <dsp:cNvPr id="0" name=""/>
        <dsp:cNvSpPr/>
      </dsp:nvSpPr>
      <dsp:spPr>
        <a:xfrm rot="3240000">
          <a:off x="3109316" y="2337828"/>
          <a:ext cx="122729" cy="355141"/>
        </a:xfrm>
        <a:prstGeom prst="rightArrow">
          <a:avLst>
            <a:gd name="adj1" fmla="val 60000"/>
            <a:gd name="adj2" fmla="val 50000"/>
          </a:avLst>
        </a:prstGeom>
        <a:solidFill>
          <a:srgbClr val="4DC58D"/>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116905" y="2393962"/>
        <a:ext cx="85910" cy="213085"/>
      </dsp:txXfrm>
    </dsp:sp>
    <dsp:sp modelId="{9334D7D7-AF36-4DA1-AE9B-3D8F6C2AC894}">
      <dsp:nvSpPr>
        <dsp:cNvPr id="0" name=""/>
        <dsp:cNvSpPr/>
      </dsp:nvSpPr>
      <dsp:spPr>
        <a:xfrm>
          <a:off x="2913180" y="2500819"/>
          <a:ext cx="1463673" cy="1334893"/>
        </a:xfrm>
        <a:prstGeom prst="ellipse">
          <a:avLst/>
        </a:prstGeom>
        <a:solidFill>
          <a:srgbClr val="4DC58D"/>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Youth &amp; Adolescent Skills</a:t>
          </a:r>
        </a:p>
      </dsp:txBody>
      <dsp:txXfrm>
        <a:off x="3127530" y="2696310"/>
        <a:ext cx="1034973" cy="943911"/>
      </dsp:txXfrm>
    </dsp:sp>
    <dsp:sp modelId="{4F49B0AE-741A-43EF-9A40-AB7E0912CBDD}">
      <dsp:nvSpPr>
        <dsp:cNvPr id="0" name=""/>
        <dsp:cNvSpPr/>
      </dsp:nvSpPr>
      <dsp:spPr>
        <a:xfrm rot="7560000">
          <a:off x="2333869" y="2342374"/>
          <a:ext cx="128870" cy="355141"/>
        </a:xfrm>
        <a:prstGeom prst="rightArrow">
          <a:avLst>
            <a:gd name="adj1" fmla="val 60000"/>
            <a:gd name="adj2" fmla="val 50000"/>
          </a:avLst>
        </a:prstGeom>
        <a:solidFill>
          <a:srgbClr val="5B9BD5"/>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10800000">
        <a:off x="2364562" y="2397763"/>
        <a:ext cx="90209" cy="213085"/>
      </dsp:txXfrm>
    </dsp:sp>
    <dsp:sp modelId="{388B3CD6-F2CB-470F-A643-38614261A63D}">
      <dsp:nvSpPr>
        <dsp:cNvPr id="0" name=""/>
        <dsp:cNvSpPr/>
      </dsp:nvSpPr>
      <dsp:spPr>
        <a:xfrm>
          <a:off x="1266901" y="2483323"/>
          <a:ext cx="1320739" cy="1369885"/>
        </a:xfrm>
        <a:prstGeom prst="ellipse">
          <a:avLst/>
        </a:prstGeom>
        <a:solidFill>
          <a:srgbClr val="5B9BD5"/>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Technical &amp; Vocational Education &amp; Training</a:t>
          </a:r>
        </a:p>
      </dsp:txBody>
      <dsp:txXfrm>
        <a:off x="1460319" y="2683938"/>
        <a:ext cx="933903" cy="968655"/>
      </dsp:txXfrm>
    </dsp:sp>
    <dsp:sp modelId="{CB6EE809-D961-490B-8AD5-D4A039B55F1D}">
      <dsp:nvSpPr>
        <dsp:cNvPr id="0" name=""/>
        <dsp:cNvSpPr/>
      </dsp:nvSpPr>
      <dsp:spPr>
        <a:xfrm rot="11880000">
          <a:off x="2085578" y="1603509"/>
          <a:ext cx="138979" cy="355141"/>
        </a:xfrm>
        <a:prstGeom prst="rightArrow">
          <a:avLst>
            <a:gd name="adj1" fmla="val 60000"/>
            <a:gd name="adj2" fmla="val 50000"/>
          </a:avLst>
        </a:prstGeom>
        <a:solidFill>
          <a:srgbClr val="54CCCD"/>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10800000">
        <a:off x="2126252" y="1680979"/>
        <a:ext cx="97285" cy="213085"/>
      </dsp:txXfrm>
    </dsp:sp>
    <dsp:sp modelId="{4159080B-1251-4A19-A33E-FD19A327D513}">
      <dsp:nvSpPr>
        <dsp:cNvPr id="0" name=""/>
        <dsp:cNvSpPr/>
      </dsp:nvSpPr>
      <dsp:spPr>
        <a:xfrm>
          <a:off x="736089" y="849650"/>
          <a:ext cx="1320739" cy="1369885"/>
        </a:xfrm>
        <a:prstGeom prst="ellipse">
          <a:avLst/>
        </a:prstGeom>
        <a:solidFill>
          <a:srgbClr val="54CCCD"/>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t>Teacher Trainings</a:t>
          </a:r>
        </a:p>
      </dsp:txBody>
      <dsp:txXfrm>
        <a:off x="929507" y="1050265"/>
        <a:ext cx="933903" cy="96865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D76B47-CEDD-4682-8FAD-609E38E404E0}">
      <dsp:nvSpPr>
        <dsp:cNvPr id="0" name=""/>
        <dsp:cNvSpPr/>
      </dsp:nvSpPr>
      <dsp:spPr>
        <a:xfrm rot="5400000">
          <a:off x="512223" y="1913773"/>
          <a:ext cx="1519661" cy="2528681"/>
        </a:xfrm>
        <a:prstGeom prst="corner">
          <a:avLst>
            <a:gd name="adj1" fmla="val 16120"/>
            <a:gd name="adj2" fmla="val 1611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4378F86-7C92-4B7E-A0B3-A233E5C61980}">
      <dsp:nvSpPr>
        <dsp:cNvPr id="0" name=""/>
        <dsp:cNvSpPr/>
      </dsp:nvSpPr>
      <dsp:spPr>
        <a:xfrm>
          <a:off x="267753" y="2651595"/>
          <a:ext cx="2282908" cy="2001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a:t>Use of existing resources</a:t>
          </a:r>
        </a:p>
        <a:p>
          <a:pPr marL="114300" lvl="1" indent="-114300" algn="l" defTabSz="533400">
            <a:lnSpc>
              <a:spcPct val="90000"/>
            </a:lnSpc>
            <a:spcBef>
              <a:spcPct val="0"/>
            </a:spcBef>
            <a:spcAft>
              <a:spcPct val="15000"/>
            </a:spcAft>
            <a:buChar char="•"/>
          </a:pPr>
          <a:r>
            <a:rPr lang="en-US" sz="1200" kern="1200"/>
            <a:t>Government </a:t>
          </a:r>
          <a:r>
            <a:rPr lang="en-US" sz="1200" i="1" kern="1200"/>
            <a:t>used existing MSFT licenses</a:t>
          </a:r>
          <a:r>
            <a:rPr lang="en-US" sz="1200" kern="1200"/>
            <a:t> to integrate LP within Microsoft Teams</a:t>
          </a:r>
        </a:p>
        <a:p>
          <a:pPr marL="114300" lvl="1" indent="-114300" algn="l" defTabSz="533400">
            <a:lnSpc>
              <a:spcPct val="90000"/>
            </a:lnSpc>
            <a:spcBef>
              <a:spcPct val="0"/>
            </a:spcBef>
            <a:spcAft>
              <a:spcPct val="15000"/>
            </a:spcAft>
            <a:buChar char="•"/>
          </a:pPr>
          <a:r>
            <a:rPr lang="en-US" sz="1200" kern="1200"/>
            <a:t>With integration, platform offers </a:t>
          </a:r>
          <a:r>
            <a:rPr lang="en-US" sz="1200" i="1" kern="1200"/>
            <a:t>content, audio, and video conferencing functionalities </a:t>
          </a:r>
          <a:r>
            <a:rPr lang="en-US" sz="1200" kern="1200"/>
            <a:t>to every student and teacher</a:t>
          </a:r>
        </a:p>
      </dsp:txBody>
      <dsp:txXfrm>
        <a:off x="267753" y="2651595"/>
        <a:ext cx="2282908" cy="2001102"/>
      </dsp:txXfrm>
    </dsp:sp>
    <dsp:sp modelId="{92EAE538-BD26-47D1-B008-EF54650A2C9D}">
      <dsp:nvSpPr>
        <dsp:cNvPr id="0" name=""/>
        <dsp:cNvSpPr/>
      </dsp:nvSpPr>
      <dsp:spPr>
        <a:xfrm>
          <a:off x="2110724" y="1727609"/>
          <a:ext cx="430737" cy="430737"/>
        </a:xfrm>
        <a:prstGeom prst="triangle">
          <a:avLst>
            <a:gd name="adj" fmla="val 10000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904CEF9-3B90-474E-82A4-B444486C5DA5}">
      <dsp:nvSpPr>
        <dsp:cNvPr id="0" name=""/>
        <dsp:cNvSpPr/>
      </dsp:nvSpPr>
      <dsp:spPr>
        <a:xfrm rot="5400000">
          <a:off x="3306948" y="1222216"/>
          <a:ext cx="1519661" cy="2528681"/>
        </a:xfrm>
        <a:prstGeom prst="corner">
          <a:avLst>
            <a:gd name="adj1" fmla="val 16120"/>
            <a:gd name="adj2" fmla="val 1611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99AFA27-A1E5-492F-98C7-7CCA1360051E}">
      <dsp:nvSpPr>
        <dsp:cNvPr id="0" name=""/>
        <dsp:cNvSpPr/>
      </dsp:nvSpPr>
      <dsp:spPr>
        <a:xfrm>
          <a:off x="3053279" y="1977747"/>
          <a:ext cx="2282908" cy="2001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a:t>One stop shop for digital content</a:t>
          </a:r>
        </a:p>
        <a:p>
          <a:pPr marL="114300" lvl="1" indent="-114300" algn="l" defTabSz="533400">
            <a:lnSpc>
              <a:spcPct val="90000"/>
            </a:lnSpc>
            <a:spcBef>
              <a:spcPct val="0"/>
            </a:spcBef>
            <a:spcAft>
              <a:spcPct val="15000"/>
            </a:spcAft>
            <a:buChar char="•"/>
          </a:pPr>
          <a:r>
            <a:rPr lang="en-US" sz="1200" kern="1200"/>
            <a:t>All 14,000 video lessons covering grade 1-9 to be added in one place</a:t>
          </a:r>
        </a:p>
      </dsp:txBody>
      <dsp:txXfrm>
        <a:off x="3053279" y="1977747"/>
        <a:ext cx="2282908" cy="2001102"/>
      </dsp:txXfrm>
    </dsp:sp>
    <dsp:sp modelId="{BB975A51-79AA-48EE-A2FE-64EEE2BBE193}">
      <dsp:nvSpPr>
        <dsp:cNvPr id="0" name=""/>
        <dsp:cNvSpPr/>
      </dsp:nvSpPr>
      <dsp:spPr>
        <a:xfrm>
          <a:off x="4905450" y="1036051"/>
          <a:ext cx="430737" cy="430737"/>
        </a:xfrm>
        <a:prstGeom prst="triangle">
          <a:avLst>
            <a:gd name="adj" fmla="val 10000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80E5865-3885-43C3-82D6-D52FE9A67ABD}">
      <dsp:nvSpPr>
        <dsp:cNvPr id="0" name=""/>
        <dsp:cNvSpPr/>
      </dsp:nvSpPr>
      <dsp:spPr>
        <a:xfrm rot="5400000">
          <a:off x="6101673" y="530658"/>
          <a:ext cx="1519661" cy="2528681"/>
        </a:xfrm>
        <a:prstGeom prst="corner">
          <a:avLst>
            <a:gd name="adj1" fmla="val 16120"/>
            <a:gd name="adj2" fmla="val 1611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DDC106A-933C-4D90-87CB-2594018B4A35}">
      <dsp:nvSpPr>
        <dsp:cNvPr id="0" name=""/>
        <dsp:cNvSpPr/>
      </dsp:nvSpPr>
      <dsp:spPr>
        <a:xfrm>
          <a:off x="5862912" y="1288891"/>
          <a:ext cx="2282908" cy="2001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a:t>Unique user IDs for all users</a:t>
          </a:r>
        </a:p>
        <a:p>
          <a:pPr marL="114300" lvl="1" indent="-114300" algn="l" defTabSz="533400">
            <a:lnSpc>
              <a:spcPct val="90000"/>
            </a:lnSpc>
            <a:spcBef>
              <a:spcPct val="0"/>
            </a:spcBef>
            <a:spcAft>
              <a:spcPct val="15000"/>
            </a:spcAft>
            <a:buChar char="•"/>
          </a:pPr>
          <a:r>
            <a:rPr lang="en-US" sz="1200" kern="1200"/>
            <a:t>Unique user ids track individual user progress.</a:t>
          </a:r>
        </a:p>
        <a:p>
          <a:pPr marL="114300" lvl="1" indent="-114300" algn="l" defTabSz="533400">
            <a:lnSpc>
              <a:spcPct val="90000"/>
            </a:lnSpc>
            <a:spcBef>
              <a:spcPct val="0"/>
            </a:spcBef>
            <a:spcAft>
              <a:spcPct val="15000"/>
            </a:spcAft>
            <a:buChar char="•"/>
          </a:pPr>
          <a:r>
            <a:rPr lang="en-US" sz="1200" kern="1200"/>
            <a:t>Administrator privileges to teachers to create courses and assign lessons to learners, as needed</a:t>
          </a:r>
        </a:p>
      </dsp:txBody>
      <dsp:txXfrm>
        <a:off x="5862912" y="1288891"/>
        <a:ext cx="2282908" cy="2001102"/>
      </dsp:txXfrm>
    </dsp:sp>
    <dsp:sp modelId="{9BBFCA60-E49D-4739-8C6B-8C7AA89A2D92}">
      <dsp:nvSpPr>
        <dsp:cNvPr id="0" name=""/>
        <dsp:cNvSpPr/>
      </dsp:nvSpPr>
      <dsp:spPr>
        <a:xfrm>
          <a:off x="7700175" y="344494"/>
          <a:ext cx="430737" cy="430737"/>
        </a:xfrm>
        <a:prstGeom prst="triangle">
          <a:avLst>
            <a:gd name="adj" fmla="val 10000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516320E-15E7-4229-93BC-036111E63FC5}">
      <dsp:nvSpPr>
        <dsp:cNvPr id="0" name=""/>
        <dsp:cNvSpPr/>
      </dsp:nvSpPr>
      <dsp:spPr>
        <a:xfrm rot="5400000">
          <a:off x="8896399" y="-160899"/>
          <a:ext cx="1519661" cy="2528681"/>
        </a:xfrm>
        <a:prstGeom prst="corner">
          <a:avLst>
            <a:gd name="adj1" fmla="val 16120"/>
            <a:gd name="adj2" fmla="val 16110"/>
          </a:avLst>
        </a:prstGeom>
        <a:solidFill>
          <a:schemeClr val="dk2">
            <a:hueOff val="0"/>
            <a:satOff val="0"/>
            <a:lumOff val="0"/>
            <a:alphaOff val="0"/>
          </a:schemeClr>
        </a:solidFill>
        <a:ln w="10795"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C13C004-75F3-4E1B-9229-9934DC65BA4D}">
      <dsp:nvSpPr>
        <dsp:cNvPr id="0" name=""/>
        <dsp:cNvSpPr/>
      </dsp:nvSpPr>
      <dsp:spPr>
        <a:xfrm>
          <a:off x="8623896" y="581905"/>
          <a:ext cx="2282908" cy="2001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a:t>A</a:t>
          </a:r>
          <a:r>
            <a:rPr lang="en-US" sz="1600" kern="1200" baseline="0"/>
            <a:t> bigger transformation of classroom learning</a:t>
          </a:r>
          <a:endParaRPr lang="en-US" sz="1600" kern="1200"/>
        </a:p>
        <a:p>
          <a:pPr marL="114300" lvl="1" indent="-114300" algn="l" defTabSz="533400">
            <a:lnSpc>
              <a:spcPct val="90000"/>
            </a:lnSpc>
            <a:spcBef>
              <a:spcPct val="0"/>
            </a:spcBef>
            <a:spcAft>
              <a:spcPct val="15000"/>
            </a:spcAft>
            <a:buChar char="•"/>
          </a:pPr>
          <a:r>
            <a:rPr lang="en-US" sz="1200" kern="1200"/>
            <a:t>A comprehensive blended learning solution for all learners, even after COVID-19</a:t>
          </a:r>
        </a:p>
      </dsp:txBody>
      <dsp:txXfrm>
        <a:off x="8623896" y="581905"/>
        <a:ext cx="2282908" cy="2001102"/>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8.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39.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2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41.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20.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4/20/2021</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latin typeface="+mn-lt"/>
              <a:ea typeface="+mn-ea"/>
              <a:cs typeface="+mn-cs"/>
              <a:sym typeface="+mn-lt"/>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sym typeface="+mn-lt"/>
              </a:defRPr>
            </a:lvl1pPr>
          </a:lstStyle>
          <a:p>
            <a:endParaRPr lang="en-US"/>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sym typeface="+mn-lt"/>
              </a:defRPr>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sym typeface="+mn-lt"/>
              </a:defRPr>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sym typeface="+mn-lt"/>
              </a:defRPr>
            </a:lvl1pPr>
          </a:lstStyle>
          <a:p>
            <a:fld id="{F2C7CF5F-7CF3-4DF3-838A-EE34544862CC}" type="datetimeFigureOut">
              <a:rPr lang="en-US" smtClean="0"/>
              <a:pPr/>
              <a:t>4/20/2021</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sym typeface="+mn-lt"/>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sym typeface="+mn-lt"/>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F0428D6-1F71-442E-BDC6-A10B78EBD4DC}" type="slidenum">
              <a:rPr lang="en-US" smtClean="0"/>
              <a:t>0</a:t>
            </a:fld>
            <a:endParaRPr lang="en-US"/>
          </a:p>
        </p:txBody>
      </p:sp>
    </p:spTree>
    <p:extLst>
      <p:ext uri="{BB962C8B-B14F-4D97-AF65-F5344CB8AC3E}">
        <p14:creationId xmlns:p14="http://schemas.microsoft.com/office/powerpoint/2010/main" val="1659337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41076784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1</a:t>
            </a:fld>
            <a:endParaRPr lang="en-US"/>
          </a:p>
        </p:txBody>
      </p:sp>
    </p:spTree>
    <p:extLst>
      <p:ext uri="{BB962C8B-B14F-4D97-AF65-F5344CB8AC3E}">
        <p14:creationId xmlns:p14="http://schemas.microsoft.com/office/powerpoint/2010/main" val="35516307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340072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pPr>
              <a:buNone/>
            </a:pPr>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37479193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8</a:t>
            </a:fld>
            <a:endParaRPr lang="en-US"/>
          </a:p>
        </p:txBody>
      </p:sp>
    </p:spTree>
    <p:extLst>
      <p:ext uri="{BB962C8B-B14F-4D97-AF65-F5344CB8AC3E}">
        <p14:creationId xmlns:p14="http://schemas.microsoft.com/office/powerpoint/2010/main" val="31228447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9</a:t>
            </a:fld>
            <a:endParaRPr lang="en-US"/>
          </a:p>
        </p:txBody>
      </p:sp>
    </p:spTree>
    <p:extLst>
      <p:ext uri="{BB962C8B-B14F-4D97-AF65-F5344CB8AC3E}">
        <p14:creationId xmlns:p14="http://schemas.microsoft.com/office/powerpoint/2010/main" val="38516202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388" y="584200"/>
            <a:ext cx="6756400" cy="3800475"/>
          </a:xfrm>
        </p:spPr>
      </p:sp>
      <p:sp>
        <p:nvSpPr>
          <p:cNvPr id="3" name="Notes Placeholder 2"/>
          <p:cNvSpPr>
            <a:spLocks noGrp="1"/>
          </p:cNvSpPr>
          <p:nvPr>
            <p:ph type="body" idx="1"/>
          </p:nvPr>
        </p:nvSpPr>
        <p:spPr/>
        <p:txBody>
          <a:bodyPr/>
          <a:lstStyle/>
          <a:p>
            <a:r>
              <a:rPr lang="en-US"/>
              <a:t>- Description of what the LP is – online offline mobile platform </a:t>
            </a:r>
          </a:p>
          <a:p>
            <a:r>
              <a:rPr lang="en-US"/>
              <a:t>- Can deliver national curriculum + global supplementary resources </a:t>
            </a:r>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4525648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a:t>
            </a:fld>
            <a:endParaRPr lang="en-US"/>
          </a:p>
        </p:txBody>
      </p:sp>
    </p:spTree>
    <p:extLst>
      <p:ext uri="{BB962C8B-B14F-4D97-AF65-F5344CB8AC3E}">
        <p14:creationId xmlns:p14="http://schemas.microsoft.com/office/powerpoint/2010/main" val="7911494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17355482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4</a:t>
            </a:fld>
            <a:endParaRPr lang="en-US"/>
          </a:p>
        </p:txBody>
      </p:sp>
    </p:spTree>
    <p:extLst>
      <p:ext uri="{BB962C8B-B14F-4D97-AF65-F5344CB8AC3E}">
        <p14:creationId xmlns:p14="http://schemas.microsoft.com/office/powerpoint/2010/main" val="34814130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3015641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10248245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4155085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9</a:t>
            </a:fld>
            <a:endParaRPr lang="en-US"/>
          </a:p>
        </p:txBody>
      </p:sp>
    </p:spTree>
    <p:extLst>
      <p:ext uri="{BB962C8B-B14F-4D97-AF65-F5344CB8AC3E}">
        <p14:creationId xmlns:p14="http://schemas.microsoft.com/office/powerpoint/2010/main" val="344876502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pn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vmlDrawing" Target="../drawings/vmlDrawing99.vml"/><Relationship Id="rId6" Type="http://schemas.openxmlformats.org/officeDocument/2006/relationships/image" Target="../media/image5.emf"/><Relationship Id="rId5" Type="http://schemas.openxmlformats.org/officeDocument/2006/relationships/oleObject" Target="../embeddings/oleObject99.bin"/><Relationship Id="rId4"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4.xml"/><Relationship Id="rId1" Type="http://schemas.openxmlformats.org/officeDocument/2006/relationships/vmlDrawing" Target="../drawings/vmlDrawing100.vml"/><Relationship Id="rId5" Type="http://schemas.openxmlformats.org/officeDocument/2006/relationships/image" Target="../media/image5.emf"/><Relationship Id="rId4" Type="http://schemas.openxmlformats.org/officeDocument/2006/relationships/oleObject" Target="../embeddings/oleObject100.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vmlDrawing" Target="../drawings/vmlDrawing101.vml"/><Relationship Id="rId6" Type="http://schemas.openxmlformats.org/officeDocument/2006/relationships/image" Target="../media/image5.emf"/><Relationship Id="rId5" Type="http://schemas.openxmlformats.org/officeDocument/2006/relationships/oleObject" Target="../embeddings/oleObject101.bin"/><Relationship Id="rId4"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88.xml"/><Relationship Id="rId2" Type="http://schemas.openxmlformats.org/officeDocument/2006/relationships/tags" Target="../tags/tag187.xml"/><Relationship Id="rId1" Type="http://schemas.openxmlformats.org/officeDocument/2006/relationships/vmlDrawing" Target="../drawings/vmlDrawing102.vml"/><Relationship Id="rId6" Type="http://schemas.openxmlformats.org/officeDocument/2006/relationships/image" Target="../media/image5.emf"/><Relationship Id="rId5" Type="http://schemas.openxmlformats.org/officeDocument/2006/relationships/oleObject" Target="../embeddings/oleObject102.bin"/><Relationship Id="rId4"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9.xml"/><Relationship Id="rId1" Type="http://schemas.openxmlformats.org/officeDocument/2006/relationships/vmlDrawing" Target="../drawings/vmlDrawing103.vml"/><Relationship Id="rId5" Type="http://schemas.openxmlformats.org/officeDocument/2006/relationships/image" Target="../media/image5.emf"/><Relationship Id="rId4" Type="http://schemas.openxmlformats.org/officeDocument/2006/relationships/oleObject" Target="../embeddings/oleObject103.bin"/></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3.png"/><Relationship Id="rId2" Type="http://schemas.openxmlformats.org/officeDocument/2006/relationships/tags" Target="../tags/tag190.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oleObject" Target="../embeddings/oleObject104.bin"/><Relationship Id="rId4"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3.png"/><Relationship Id="rId2" Type="http://schemas.openxmlformats.org/officeDocument/2006/relationships/tags" Target="../tags/tag192.xml"/><Relationship Id="rId1" Type="http://schemas.openxmlformats.org/officeDocument/2006/relationships/vmlDrawing" Target="../drawings/vmlDrawing105.vml"/><Relationship Id="rId6" Type="http://schemas.openxmlformats.org/officeDocument/2006/relationships/image" Target="../media/image5.emf"/><Relationship Id="rId5" Type="http://schemas.openxmlformats.org/officeDocument/2006/relationships/oleObject" Target="../embeddings/oleObject105.bin"/><Relationship Id="rId4"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3.png"/><Relationship Id="rId2" Type="http://schemas.openxmlformats.org/officeDocument/2006/relationships/tags" Target="../tags/tag194.xml"/><Relationship Id="rId1" Type="http://schemas.openxmlformats.org/officeDocument/2006/relationships/vmlDrawing" Target="../drawings/vmlDrawing106.vml"/><Relationship Id="rId6" Type="http://schemas.openxmlformats.org/officeDocument/2006/relationships/image" Target="../media/image5.emf"/><Relationship Id="rId5" Type="http://schemas.openxmlformats.org/officeDocument/2006/relationships/oleObject" Target="../embeddings/oleObject106.bin"/><Relationship Id="rId4"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3.png"/><Relationship Id="rId2" Type="http://schemas.openxmlformats.org/officeDocument/2006/relationships/tags" Target="../tags/tag196.xml"/><Relationship Id="rId1" Type="http://schemas.openxmlformats.org/officeDocument/2006/relationships/vmlDrawing" Target="../drawings/vmlDrawing107.vml"/><Relationship Id="rId6" Type="http://schemas.openxmlformats.org/officeDocument/2006/relationships/image" Target="../media/image5.emf"/><Relationship Id="rId5" Type="http://schemas.openxmlformats.org/officeDocument/2006/relationships/oleObject" Target="../embeddings/oleObject107.bin"/><Relationship Id="rId4"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3.png"/><Relationship Id="rId2" Type="http://schemas.openxmlformats.org/officeDocument/2006/relationships/tags" Target="../tags/tag198.xml"/><Relationship Id="rId1" Type="http://schemas.openxmlformats.org/officeDocument/2006/relationships/vmlDrawing" Target="../drawings/vmlDrawing108.vml"/><Relationship Id="rId6" Type="http://schemas.openxmlformats.org/officeDocument/2006/relationships/image" Target="../media/image5.emf"/><Relationship Id="rId5" Type="http://schemas.openxmlformats.org/officeDocument/2006/relationships/oleObject" Target="../embeddings/oleObject108.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3.png"/><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3.png"/><Relationship Id="rId2" Type="http://schemas.openxmlformats.org/officeDocument/2006/relationships/tags" Target="../tags/tag200.xml"/><Relationship Id="rId1" Type="http://schemas.openxmlformats.org/officeDocument/2006/relationships/vmlDrawing" Target="../drawings/vmlDrawing109.vml"/><Relationship Id="rId6" Type="http://schemas.openxmlformats.org/officeDocument/2006/relationships/image" Target="../media/image5.emf"/><Relationship Id="rId5" Type="http://schemas.openxmlformats.org/officeDocument/2006/relationships/oleObject" Target="../embeddings/oleObject109.bin"/><Relationship Id="rId4"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6.png"/><Relationship Id="rId2" Type="http://schemas.openxmlformats.org/officeDocument/2006/relationships/tags" Target="../tags/tag202.xml"/><Relationship Id="rId1" Type="http://schemas.openxmlformats.org/officeDocument/2006/relationships/vmlDrawing" Target="../drawings/vmlDrawing110.vml"/><Relationship Id="rId6" Type="http://schemas.openxmlformats.org/officeDocument/2006/relationships/image" Target="../media/image8.emf"/><Relationship Id="rId5" Type="http://schemas.openxmlformats.org/officeDocument/2006/relationships/oleObject" Target="../embeddings/oleObject110.bin"/><Relationship Id="rId4"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7.png"/><Relationship Id="rId2" Type="http://schemas.openxmlformats.org/officeDocument/2006/relationships/tags" Target="../tags/tag204.xml"/><Relationship Id="rId1" Type="http://schemas.openxmlformats.org/officeDocument/2006/relationships/vmlDrawing" Target="../drawings/vmlDrawing111.vml"/><Relationship Id="rId6" Type="http://schemas.openxmlformats.org/officeDocument/2006/relationships/image" Target="../media/image5.emf"/><Relationship Id="rId5" Type="http://schemas.openxmlformats.org/officeDocument/2006/relationships/oleObject" Target="../embeddings/oleObject111.bin"/><Relationship Id="rId4"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9.png"/><Relationship Id="rId2" Type="http://schemas.openxmlformats.org/officeDocument/2006/relationships/tags" Target="../tags/tag206.xml"/><Relationship Id="rId1" Type="http://schemas.openxmlformats.org/officeDocument/2006/relationships/vmlDrawing" Target="../drawings/vmlDrawing112.vml"/><Relationship Id="rId6" Type="http://schemas.openxmlformats.org/officeDocument/2006/relationships/image" Target="../media/image5.emf"/><Relationship Id="rId5" Type="http://schemas.openxmlformats.org/officeDocument/2006/relationships/oleObject" Target="../embeddings/oleObject112.bin"/><Relationship Id="rId4"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7.png"/><Relationship Id="rId2" Type="http://schemas.openxmlformats.org/officeDocument/2006/relationships/tags" Target="../tags/tag208.xml"/><Relationship Id="rId1" Type="http://schemas.openxmlformats.org/officeDocument/2006/relationships/vmlDrawing" Target="../drawings/vmlDrawing113.vml"/><Relationship Id="rId6" Type="http://schemas.openxmlformats.org/officeDocument/2006/relationships/image" Target="../media/image5.emf"/><Relationship Id="rId5" Type="http://schemas.openxmlformats.org/officeDocument/2006/relationships/oleObject" Target="../embeddings/oleObject113.bin"/><Relationship Id="rId4"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image" Target="../media/image6.png"/><Relationship Id="rId2" Type="http://schemas.openxmlformats.org/officeDocument/2006/relationships/tags" Target="../tags/tag210.xml"/><Relationship Id="rId1" Type="http://schemas.openxmlformats.org/officeDocument/2006/relationships/vmlDrawing" Target="../drawings/vmlDrawing114.vml"/><Relationship Id="rId6" Type="http://schemas.openxmlformats.org/officeDocument/2006/relationships/image" Target="../media/image5.emf"/><Relationship Id="rId5" Type="http://schemas.openxmlformats.org/officeDocument/2006/relationships/oleObject" Target="../embeddings/oleObject114.bin"/><Relationship Id="rId4"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213.xml"/><Relationship Id="rId7" Type="http://schemas.openxmlformats.org/officeDocument/2006/relationships/image" Target="../media/image7.png"/><Relationship Id="rId2" Type="http://schemas.openxmlformats.org/officeDocument/2006/relationships/tags" Target="../tags/tag212.xml"/><Relationship Id="rId1" Type="http://schemas.openxmlformats.org/officeDocument/2006/relationships/vmlDrawing" Target="../drawings/vmlDrawing115.vml"/><Relationship Id="rId6" Type="http://schemas.openxmlformats.org/officeDocument/2006/relationships/image" Target="../media/image5.emf"/><Relationship Id="rId5" Type="http://schemas.openxmlformats.org/officeDocument/2006/relationships/oleObject" Target="../embeddings/oleObject115.bin"/><Relationship Id="rId4"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6.png"/><Relationship Id="rId2" Type="http://schemas.openxmlformats.org/officeDocument/2006/relationships/tags" Target="../tags/tag214.xml"/><Relationship Id="rId1" Type="http://schemas.openxmlformats.org/officeDocument/2006/relationships/vmlDrawing" Target="../drawings/vmlDrawing116.vml"/><Relationship Id="rId6" Type="http://schemas.openxmlformats.org/officeDocument/2006/relationships/image" Target="../media/image5.emf"/><Relationship Id="rId5" Type="http://schemas.openxmlformats.org/officeDocument/2006/relationships/oleObject" Target="../embeddings/oleObject116.bin"/><Relationship Id="rId4"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7.png"/><Relationship Id="rId2" Type="http://schemas.openxmlformats.org/officeDocument/2006/relationships/tags" Target="../tags/tag216.xml"/><Relationship Id="rId1" Type="http://schemas.openxmlformats.org/officeDocument/2006/relationships/vmlDrawing" Target="../drawings/vmlDrawing117.vml"/><Relationship Id="rId6" Type="http://schemas.openxmlformats.org/officeDocument/2006/relationships/image" Target="../media/image5.emf"/><Relationship Id="rId5" Type="http://schemas.openxmlformats.org/officeDocument/2006/relationships/oleObject" Target="../embeddings/oleObject117.bin"/><Relationship Id="rId4"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219.xml"/><Relationship Id="rId2" Type="http://schemas.openxmlformats.org/officeDocument/2006/relationships/tags" Target="../tags/tag218.xml"/><Relationship Id="rId1" Type="http://schemas.openxmlformats.org/officeDocument/2006/relationships/vmlDrawing" Target="../drawings/vmlDrawing118.vml"/><Relationship Id="rId6" Type="http://schemas.openxmlformats.org/officeDocument/2006/relationships/image" Target="../media/image5.emf"/><Relationship Id="rId5" Type="http://schemas.openxmlformats.org/officeDocument/2006/relationships/oleObject" Target="../embeddings/oleObject118.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6.png"/><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221.xml"/><Relationship Id="rId7" Type="http://schemas.openxmlformats.org/officeDocument/2006/relationships/image" Target="../media/image5.emf"/><Relationship Id="rId2" Type="http://schemas.openxmlformats.org/officeDocument/2006/relationships/tags" Target="../tags/tag220.xml"/><Relationship Id="rId1" Type="http://schemas.openxmlformats.org/officeDocument/2006/relationships/vmlDrawing" Target="../drawings/vmlDrawing119.vml"/><Relationship Id="rId6" Type="http://schemas.openxmlformats.org/officeDocument/2006/relationships/oleObject" Target="../embeddings/oleObject119.bin"/><Relationship Id="rId5" Type="http://schemas.openxmlformats.org/officeDocument/2006/relationships/slideMaster" Target="../slideMasters/slideMaster2.xml"/><Relationship Id="rId4" Type="http://schemas.openxmlformats.org/officeDocument/2006/relationships/tags" Target="../tags/tag222.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3.xml"/><Relationship Id="rId1" Type="http://schemas.openxmlformats.org/officeDocument/2006/relationships/vmlDrawing" Target="../drawings/vmlDrawing120.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20.bin"/></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225.xml"/><Relationship Id="rId2" Type="http://schemas.openxmlformats.org/officeDocument/2006/relationships/tags" Target="../tags/tag224.xml"/><Relationship Id="rId1" Type="http://schemas.openxmlformats.org/officeDocument/2006/relationships/vmlDrawing" Target="../drawings/vmlDrawing121.vml"/><Relationship Id="rId6" Type="http://schemas.openxmlformats.org/officeDocument/2006/relationships/image" Target="../media/image5.emf"/><Relationship Id="rId5" Type="http://schemas.openxmlformats.org/officeDocument/2006/relationships/oleObject" Target="../embeddings/oleObject121.bin"/><Relationship Id="rId4"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227.xml"/><Relationship Id="rId7" Type="http://schemas.openxmlformats.org/officeDocument/2006/relationships/image" Target="../media/image6.png"/><Relationship Id="rId2" Type="http://schemas.openxmlformats.org/officeDocument/2006/relationships/tags" Target="../tags/tag226.xml"/><Relationship Id="rId1" Type="http://schemas.openxmlformats.org/officeDocument/2006/relationships/vmlDrawing" Target="../drawings/vmlDrawing122.vml"/><Relationship Id="rId6" Type="http://schemas.openxmlformats.org/officeDocument/2006/relationships/image" Target="../media/image5.emf"/><Relationship Id="rId5" Type="http://schemas.openxmlformats.org/officeDocument/2006/relationships/oleObject" Target="../embeddings/oleObject122.bin"/><Relationship Id="rId4"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229.xml"/><Relationship Id="rId2" Type="http://schemas.openxmlformats.org/officeDocument/2006/relationships/tags" Target="../tags/tag228.xml"/><Relationship Id="rId1" Type="http://schemas.openxmlformats.org/officeDocument/2006/relationships/vmlDrawing" Target="../drawings/vmlDrawing123.vml"/><Relationship Id="rId6" Type="http://schemas.openxmlformats.org/officeDocument/2006/relationships/image" Target="../media/image5.emf"/><Relationship Id="rId5" Type="http://schemas.openxmlformats.org/officeDocument/2006/relationships/oleObject" Target="../embeddings/oleObject123.bin"/><Relationship Id="rId4"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231.xml"/><Relationship Id="rId2" Type="http://schemas.openxmlformats.org/officeDocument/2006/relationships/tags" Target="../tags/tag230.xml"/><Relationship Id="rId1" Type="http://schemas.openxmlformats.org/officeDocument/2006/relationships/vmlDrawing" Target="../drawings/vmlDrawing124.vml"/><Relationship Id="rId6" Type="http://schemas.openxmlformats.org/officeDocument/2006/relationships/image" Target="../media/image5.emf"/><Relationship Id="rId5" Type="http://schemas.openxmlformats.org/officeDocument/2006/relationships/oleObject" Target="../embeddings/oleObject124.bin"/><Relationship Id="rId4"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233.xml"/><Relationship Id="rId2" Type="http://schemas.openxmlformats.org/officeDocument/2006/relationships/tags" Target="../tags/tag232.xml"/><Relationship Id="rId1" Type="http://schemas.openxmlformats.org/officeDocument/2006/relationships/vmlDrawing" Target="../drawings/vmlDrawing125.vml"/><Relationship Id="rId6" Type="http://schemas.openxmlformats.org/officeDocument/2006/relationships/image" Target="../media/image5.emf"/><Relationship Id="rId5" Type="http://schemas.openxmlformats.org/officeDocument/2006/relationships/oleObject" Target="../embeddings/oleObject125.bin"/><Relationship Id="rId4"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234.xml"/><Relationship Id="rId1" Type="http://schemas.openxmlformats.org/officeDocument/2006/relationships/vmlDrawing" Target="../drawings/vmlDrawing126.vml"/><Relationship Id="rId6" Type="http://schemas.openxmlformats.org/officeDocument/2006/relationships/image" Target="../media/image10.jpeg"/><Relationship Id="rId5" Type="http://schemas.openxmlformats.org/officeDocument/2006/relationships/image" Target="../media/image2.emf"/><Relationship Id="rId4" Type="http://schemas.openxmlformats.org/officeDocument/2006/relationships/oleObject" Target="../embeddings/oleObject126.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236.xml"/><Relationship Id="rId2" Type="http://schemas.openxmlformats.org/officeDocument/2006/relationships/tags" Target="../tags/tag235.xml"/><Relationship Id="rId1" Type="http://schemas.openxmlformats.org/officeDocument/2006/relationships/vmlDrawing" Target="../drawings/vmlDrawing127.vml"/><Relationship Id="rId6" Type="http://schemas.openxmlformats.org/officeDocument/2006/relationships/image" Target="../media/image5.emf"/><Relationship Id="rId5" Type="http://schemas.openxmlformats.org/officeDocument/2006/relationships/oleObject" Target="../embeddings/oleObject127.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238.xml"/><Relationship Id="rId2" Type="http://schemas.openxmlformats.org/officeDocument/2006/relationships/tags" Target="../tags/tag237.xml"/><Relationship Id="rId1" Type="http://schemas.openxmlformats.org/officeDocument/2006/relationships/vmlDrawing" Target="../drawings/vmlDrawing128.vml"/><Relationship Id="rId6" Type="http://schemas.openxmlformats.org/officeDocument/2006/relationships/image" Target="../media/image1.emf"/><Relationship Id="rId5" Type="http://schemas.openxmlformats.org/officeDocument/2006/relationships/oleObject" Target="../embeddings/oleObject128.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9.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0.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3.png"/><Relationship Id="rId2" Type="http://schemas.openxmlformats.org/officeDocument/2006/relationships/tags" Target="../tags/tag241.xml"/><Relationship Id="rId1" Type="http://schemas.openxmlformats.org/officeDocument/2006/relationships/vmlDrawing" Target="../drawings/vmlDrawing131.v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244.xml"/><Relationship Id="rId2" Type="http://schemas.openxmlformats.org/officeDocument/2006/relationships/tags" Target="../tags/tag243.xml"/><Relationship Id="rId1" Type="http://schemas.openxmlformats.org/officeDocument/2006/relationships/vmlDrawing" Target="../drawings/vmlDrawing132.vml"/><Relationship Id="rId6" Type="http://schemas.openxmlformats.org/officeDocument/2006/relationships/image" Target="../media/image1.emf"/><Relationship Id="rId5" Type="http://schemas.openxmlformats.org/officeDocument/2006/relationships/oleObject" Target="../embeddings/oleObject132.bin"/><Relationship Id="rId4"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5.xml"/><Relationship Id="rId1" Type="http://schemas.openxmlformats.org/officeDocument/2006/relationships/vmlDrawing" Target="../drawings/vmlDrawing133.v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6.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3.png"/><Relationship Id="rId2" Type="http://schemas.openxmlformats.org/officeDocument/2006/relationships/tags" Target="../tags/tag247.xml"/><Relationship Id="rId1" Type="http://schemas.openxmlformats.org/officeDocument/2006/relationships/vmlDrawing" Target="../drawings/vmlDrawing135.vml"/><Relationship Id="rId6" Type="http://schemas.openxmlformats.org/officeDocument/2006/relationships/image" Target="../media/image1.emf"/><Relationship Id="rId5" Type="http://schemas.openxmlformats.org/officeDocument/2006/relationships/oleObject" Target="../embeddings/oleObject135.bin"/><Relationship Id="rId4"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9.xml"/><Relationship Id="rId1" Type="http://schemas.openxmlformats.org/officeDocument/2006/relationships/vmlDrawing" Target="../drawings/vmlDrawing136.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9.png"/><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7.png"/><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6.png"/><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7.png"/><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6.png"/><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7.png"/><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5.emf"/><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1.xml"/><Relationship Id="rId4" Type="http://schemas.openxmlformats.org/officeDocument/2006/relationships/tags" Target="../tags/tag4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3.png"/><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54.xml"/><Relationship Id="rId1" Type="http://schemas.openxmlformats.org/officeDocument/2006/relationships/vmlDrawing" Target="../drawings/vmlDrawing28.vml"/><Relationship Id="rId6" Type="http://schemas.openxmlformats.org/officeDocument/2006/relationships/image" Target="../media/image10.jpeg"/><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10.jpeg"/><Relationship Id="rId2" Type="http://schemas.openxmlformats.org/officeDocument/2006/relationships/tags" Target="../tags/tag57.xml"/><Relationship Id="rId1" Type="http://schemas.openxmlformats.org/officeDocument/2006/relationships/vmlDrawing" Target="../drawings/vmlDrawing30.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vmlDrawing" Target="../drawings/vmlDrawing32.vml"/><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3.vml"/><Relationship Id="rId6" Type="http://schemas.openxmlformats.org/officeDocument/2006/relationships/image" Target="../media/image5.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35.vml"/><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3.png"/><Relationship Id="rId2" Type="http://schemas.openxmlformats.org/officeDocument/2006/relationships/tags" Target="../tags/tag66.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3.png"/><Relationship Id="rId2" Type="http://schemas.openxmlformats.org/officeDocument/2006/relationships/tags" Target="../tags/tag68.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3.png"/><Relationship Id="rId2" Type="http://schemas.openxmlformats.org/officeDocument/2006/relationships/tags" Target="../tags/tag70.xml"/><Relationship Id="rId1" Type="http://schemas.openxmlformats.org/officeDocument/2006/relationships/vmlDrawing" Target="../drawings/vmlDrawing38.vml"/><Relationship Id="rId6" Type="http://schemas.openxmlformats.org/officeDocument/2006/relationships/image" Target="../media/image5.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3.png"/><Relationship Id="rId2" Type="http://schemas.openxmlformats.org/officeDocument/2006/relationships/tags" Target="../tags/tag72.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3.png"/><Relationship Id="rId2" Type="http://schemas.openxmlformats.org/officeDocument/2006/relationships/tags" Target="../tags/tag74.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3.png"/><Relationship Id="rId2" Type="http://schemas.openxmlformats.org/officeDocument/2006/relationships/tags" Target="../tags/tag76.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6.png"/><Relationship Id="rId2" Type="http://schemas.openxmlformats.org/officeDocument/2006/relationships/tags" Target="../tags/tag78.xml"/><Relationship Id="rId1" Type="http://schemas.openxmlformats.org/officeDocument/2006/relationships/vmlDrawing" Target="../drawings/vmlDrawing42.vml"/><Relationship Id="rId6" Type="http://schemas.openxmlformats.org/officeDocument/2006/relationships/image" Target="../media/image8.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7.png"/><Relationship Id="rId2" Type="http://schemas.openxmlformats.org/officeDocument/2006/relationships/tags" Target="../tags/tag80.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9.png"/><Relationship Id="rId2" Type="http://schemas.openxmlformats.org/officeDocument/2006/relationships/tags" Target="../tags/tag82.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7.png"/><Relationship Id="rId2" Type="http://schemas.openxmlformats.org/officeDocument/2006/relationships/tags" Target="../tags/tag84.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6.png"/><Relationship Id="rId2" Type="http://schemas.openxmlformats.org/officeDocument/2006/relationships/tags" Target="../tags/tag86.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7.png"/><Relationship Id="rId2" Type="http://schemas.openxmlformats.org/officeDocument/2006/relationships/tags" Target="../tags/tag88.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6.png"/><Relationship Id="rId2" Type="http://schemas.openxmlformats.org/officeDocument/2006/relationships/tags" Target="../tags/tag90.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7.png"/><Relationship Id="rId2" Type="http://schemas.openxmlformats.org/officeDocument/2006/relationships/tags" Target="../tags/tag92.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5.emf"/><Relationship Id="rId2" Type="http://schemas.openxmlformats.org/officeDocument/2006/relationships/tags" Target="../tags/tag96.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slideMaster" Target="../slideMasters/slideMaster1.xml"/><Relationship Id="rId4" Type="http://schemas.openxmlformats.org/officeDocument/2006/relationships/tags" Target="../tags/tag9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vmlDrawing" Target="../drawings/vmlDrawing5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6.png"/><Relationship Id="rId2" Type="http://schemas.openxmlformats.org/officeDocument/2006/relationships/tags" Target="../tags/tag102.xml"/><Relationship Id="rId1" Type="http://schemas.openxmlformats.org/officeDocument/2006/relationships/vmlDrawing" Target="../drawings/vmlDrawing54.vml"/><Relationship Id="rId6" Type="http://schemas.openxmlformats.org/officeDocument/2006/relationships/image" Target="../media/image5.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55.vml"/><Relationship Id="rId6" Type="http://schemas.openxmlformats.org/officeDocument/2006/relationships/image" Target="../media/image5.emf"/><Relationship Id="rId5" Type="http://schemas.openxmlformats.org/officeDocument/2006/relationships/oleObject" Target="../embeddings/oleObject55.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56.vml"/><Relationship Id="rId6" Type="http://schemas.openxmlformats.org/officeDocument/2006/relationships/image" Target="../media/image5.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57.v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110.xml"/><Relationship Id="rId1" Type="http://schemas.openxmlformats.org/officeDocument/2006/relationships/vmlDrawing" Target="../drawings/vmlDrawing58.vml"/><Relationship Id="rId6" Type="http://schemas.openxmlformats.org/officeDocument/2006/relationships/image" Target="../media/image10.jpeg"/><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59.vml"/><Relationship Id="rId6" Type="http://schemas.openxmlformats.org/officeDocument/2006/relationships/image" Target="../media/image5.emf"/><Relationship Id="rId5" Type="http://schemas.openxmlformats.org/officeDocument/2006/relationships/oleObject" Target="../embeddings/oleObject59.bin"/><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6.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image" Target="../media/image3.png"/><Relationship Id="rId2" Type="http://schemas.openxmlformats.org/officeDocument/2006/relationships/tags" Target="../tags/tag117.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1.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2.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24.xml"/><Relationship Id="rId7" Type="http://schemas.openxmlformats.org/officeDocument/2006/relationships/image" Target="../media/image3.png"/><Relationship Id="rId2" Type="http://schemas.openxmlformats.org/officeDocument/2006/relationships/tags" Target="../tags/tag123.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5.xml"/><Relationship Id="rId1" Type="http://schemas.openxmlformats.org/officeDocument/2006/relationships/vmlDrawing" Target="../drawings/vmlDrawing6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3.pn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29.xml"/><Relationship Id="rId7" Type="http://schemas.openxmlformats.org/officeDocument/2006/relationships/image" Target="../media/image3.png"/><Relationship Id="rId2" Type="http://schemas.openxmlformats.org/officeDocument/2006/relationships/tags" Target="../tags/tag128.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71.vml"/><Relationship Id="rId6" Type="http://schemas.openxmlformats.org/officeDocument/2006/relationships/image" Target="../media/image5.emf"/><Relationship Id="rId5" Type="http://schemas.openxmlformats.org/officeDocument/2006/relationships/oleObject" Target="../embeddings/oleObject71.bin"/><Relationship Id="rId4"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2.xml"/><Relationship Id="rId1" Type="http://schemas.openxmlformats.org/officeDocument/2006/relationships/vmlDrawing" Target="../drawings/vmlDrawing72.vml"/><Relationship Id="rId5" Type="http://schemas.openxmlformats.org/officeDocument/2006/relationships/image" Target="../media/image5.emf"/><Relationship Id="rId4" Type="http://schemas.openxmlformats.org/officeDocument/2006/relationships/oleObject" Target="../embeddings/oleObject72.bin"/></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vmlDrawing" Target="../drawings/vmlDrawing73.vml"/><Relationship Id="rId6" Type="http://schemas.openxmlformats.org/officeDocument/2006/relationships/image" Target="../media/image5.emf"/><Relationship Id="rId5" Type="http://schemas.openxmlformats.org/officeDocument/2006/relationships/oleObject" Target="../embeddings/oleObject73.bin"/><Relationship Id="rId4"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vmlDrawing" Target="../drawings/vmlDrawing74.vml"/><Relationship Id="rId6" Type="http://schemas.openxmlformats.org/officeDocument/2006/relationships/image" Target="../media/image5.emf"/><Relationship Id="rId5" Type="http://schemas.openxmlformats.org/officeDocument/2006/relationships/oleObject" Target="../embeddings/oleObject74.bin"/><Relationship Id="rId4"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vmlDrawing" Target="../drawings/vmlDrawing75.vml"/><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39.xml"/><Relationship Id="rId7" Type="http://schemas.openxmlformats.org/officeDocument/2006/relationships/image" Target="../media/image3.png"/><Relationship Id="rId2" Type="http://schemas.openxmlformats.org/officeDocument/2006/relationships/tags" Target="../tags/tag138.xml"/><Relationship Id="rId1" Type="http://schemas.openxmlformats.org/officeDocument/2006/relationships/vmlDrawing" Target="../drawings/vmlDrawing76.vml"/><Relationship Id="rId6" Type="http://schemas.openxmlformats.org/officeDocument/2006/relationships/image" Target="../media/image5.emf"/><Relationship Id="rId5" Type="http://schemas.openxmlformats.org/officeDocument/2006/relationships/oleObject" Target="../embeddings/oleObject76.bin"/><Relationship Id="rId4"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image" Target="../media/image3.png"/><Relationship Id="rId2" Type="http://schemas.openxmlformats.org/officeDocument/2006/relationships/tags" Target="../tags/tag140.xml"/><Relationship Id="rId1" Type="http://schemas.openxmlformats.org/officeDocument/2006/relationships/vmlDrawing" Target="../drawings/vmlDrawing77.vml"/><Relationship Id="rId6" Type="http://schemas.openxmlformats.org/officeDocument/2006/relationships/image" Target="../media/image5.emf"/><Relationship Id="rId5" Type="http://schemas.openxmlformats.org/officeDocument/2006/relationships/oleObject" Target="../embeddings/oleObject77.bin"/><Relationship Id="rId4"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43.xml"/><Relationship Id="rId7" Type="http://schemas.openxmlformats.org/officeDocument/2006/relationships/image" Target="../media/image3.png"/><Relationship Id="rId2" Type="http://schemas.openxmlformats.org/officeDocument/2006/relationships/tags" Target="../tags/tag142.xml"/><Relationship Id="rId1" Type="http://schemas.openxmlformats.org/officeDocument/2006/relationships/vmlDrawing" Target="../drawings/vmlDrawing78.vml"/><Relationship Id="rId6" Type="http://schemas.openxmlformats.org/officeDocument/2006/relationships/image" Target="../media/image5.emf"/><Relationship Id="rId5" Type="http://schemas.openxmlformats.org/officeDocument/2006/relationships/oleObject" Target="../embeddings/oleObject78.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png"/><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45.xml"/><Relationship Id="rId7" Type="http://schemas.openxmlformats.org/officeDocument/2006/relationships/image" Target="../media/image3.png"/><Relationship Id="rId2" Type="http://schemas.openxmlformats.org/officeDocument/2006/relationships/tags" Target="../tags/tag144.xml"/><Relationship Id="rId1" Type="http://schemas.openxmlformats.org/officeDocument/2006/relationships/vmlDrawing" Target="../drawings/vmlDrawing79.vml"/><Relationship Id="rId6" Type="http://schemas.openxmlformats.org/officeDocument/2006/relationships/image" Target="../media/image5.emf"/><Relationship Id="rId5" Type="http://schemas.openxmlformats.org/officeDocument/2006/relationships/oleObject" Target="../embeddings/oleObject79.bin"/><Relationship Id="rId4"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3.png"/><Relationship Id="rId2" Type="http://schemas.openxmlformats.org/officeDocument/2006/relationships/tags" Target="../tags/tag146.xml"/><Relationship Id="rId1" Type="http://schemas.openxmlformats.org/officeDocument/2006/relationships/vmlDrawing" Target="../drawings/vmlDrawing80.vml"/><Relationship Id="rId6" Type="http://schemas.openxmlformats.org/officeDocument/2006/relationships/image" Target="../media/image5.emf"/><Relationship Id="rId5" Type="http://schemas.openxmlformats.org/officeDocument/2006/relationships/oleObject" Target="../embeddings/oleObject80.bin"/><Relationship Id="rId4"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149.xml"/><Relationship Id="rId7" Type="http://schemas.openxmlformats.org/officeDocument/2006/relationships/image" Target="../media/image6.png"/><Relationship Id="rId2" Type="http://schemas.openxmlformats.org/officeDocument/2006/relationships/tags" Target="../tags/tag148.xml"/><Relationship Id="rId1" Type="http://schemas.openxmlformats.org/officeDocument/2006/relationships/vmlDrawing" Target="../drawings/vmlDrawing81.vml"/><Relationship Id="rId6" Type="http://schemas.openxmlformats.org/officeDocument/2006/relationships/image" Target="../media/image5.emf"/><Relationship Id="rId5" Type="http://schemas.openxmlformats.org/officeDocument/2006/relationships/oleObject" Target="../embeddings/oleObject81.bin"/><Relationship Id="rId4"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7.png"/><Relationship Id="rId2" Type="http://schemas.openxmlformats.org/officeDocument/2006/relationships/tags" Target="../tags/tag150.xml"/><Relationship Id="rId1" Type="http://schemas.openxmlformats.org/officeDocument/2006/relationships/vmlDrawing" Target="../drawings/vmlDrawing82.vml"/><Relationship Id="rId6" Type="http://schemas.openxmlformats.org/officeDocument/2006/relationships/image" Target="../media/image5.emf"/><Relationship Id="rId5" Type="http://schemas.openxmlformats.org/officeDocument/2006/relationships/oleObject" Target="../embeddings/oleObject82.bin"/><Relationship Id="rId4"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53.xml"/><Relationship Id="rId7" Type="http://schemas.openxmlformats.org/officeDocument/2006/relationships/image" Target="../media/image9.png"/><Relationship Id="rId2" Type="http://schemas.openxmlformats.org/officeDocument/2006/relationships/tags" Target="../tags/tag152.xml"/><Relationship Id="rId1" Type="http://schemas.openxmlformats.org/officeDocument/2006/relationships/vmlDrawing" Target="../drawings/vmlDrawing83.vml"/><Relationship Id="rId6" Type="http://schemas.openxmlformats.org/officeDocument/2006/relationships/image" Target="../media/image8.emf"/><Relationship Id="rId5" Type="http://schemas.openxmlformats.org/officeDocument/2006/relationships/oleObject" Target="../embeddings/oleObject83.bin"/><Relationship Id="rId4"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55.xml"/><Relationship Id="rId7" Type="http://schemas.openxmlformats.org/officeDocument/2006/relationships/image" Target="../media/image7.png"/><Relationship Id="rId2" Type="http://schemas.openxmlformats.org/officeDocument/2006/relationships/tags" Target="../tags/tag154.xml"/><Relationship Id="rId1" Type="http://schemas.openxmlformats.org/officeDocument/2006/relationships/vmlDrawing" Target="../drawings/vmlDrawing84.vml"/><Relationship Id="rId6" Type="http://schemas.openxmlformats.org/officeDocument/2006/relationships/image" Target="../media/image5.emf"/><Relationship Id="rId5" Type="http://schemas.openxmlformats.org/officeDocument/2006/relationships/oleObject" Target="../embeddings/oleObject84.bin"/><Relationship Id="rId4"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57.xml"/><Relationship Id="rId7" Type="http://schemas.openxmlformats.org/officeDocument/2006/relationships/image" Target="../media/image6.png"/><Relationship Id="rId2" Type="http://schemas.openxmlformats.org/officeDocument/2006/relationships/tags" Target="../tags/tag156.xml"/><Relationship Id="rId1" Type="http://schemas.openxmlformats.org/officeDocument/2006/relationships/vmlDrawing" Target="../drawings/vmlDrawing85.vml"/><Relationship Id="rId6" Type="http://schemas.openxmlformats.org/officeDocument/2006/relationships/image" Target="../media/image5.emf"/><Relationship Id="rId5" Type="http://schemas.openxmlformats.org/officeDocument/2006/relationships/oleObject" Target="../embeddings/oleObject85.bin"/><Relationship Id="rId4"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59.xml"/><Relationship Id="rId7" Type="http://schemas.openxmlformats.org/officeDocument/2006/relationships/image" Target="../media/image7.png"/><Relationship Id="rId2" Type="http://schemas.openxmlformats.org/officeDocument/2006/relationships/tags" Target="../tags/tag158.xml"/><Relationship Id="rId1" Type="http://schemas.openxmlformats.org/officeDocument/2006/relationships/vmlDrawing" Target="../drawings/vmlDrawing86.vml"/><Relationship Id="rId6" Type="http://schemas.openxmlformats.org/officeDocument/2006/relationships/image" Target="../media/image5.emf"/><Relationship Id="rId5" Type="http://schemas.openxmlformats.org/officeDocument/2006/relationships/oleObject" Target="../embeddings/oleObject86.bin"/><Relationship Id="rId4"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61.xml"/><Relationship Id="rId7" Type="http://schemas.openxmlformats.org/officeDocument/2006/relationships/image" Target="../media/image6.png"/><Relationship Id="rId2" Type="http://schemas.openxmlformats.org/officeDocument/2006/relationships/tags" Target="../tags/tag160.xml"/><Relationship Id="rId1" Type="http://schemas.openxmlformats.org/officeDocument/2006/relationships/vmlDrawing" Target="../drawings/vmlDrawing87.vml"/><Relationship Id="rId6" Type="http://schemas.openxmlformats.org/officeDocument/2006/relationships/image" Target="../media/image5.emf"/><Relationship Id="rId5" Type="http://schemas.openxmlformats.org/officeDocument/2006/relationships/oleObject" Target="../embeddings/oleObject87.bin"/><Relationship Id="rId4"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63.xml"/><Relationship Id="rId7" Type="http://schemas.openxmlformats.org/officeDocument/2006/relationships/image" Target="../media/image7.png"/><Relationship Id="rId2" Type="http://schemas.openxmlformats.org/officeDocument/2006/relationships/tags" Target="../tags/tag162.xml"/><Relationship Id="rId1" Type="http://schemas.openxmlformats.org/officeDocument/2006/relationships/vmlDrawing" Target="../drawings/vmlDrawing88.vml"/><Relationship Id="rId6" Type="http://schemas.openxmlformats.org/officeDocument/2006/relationships/image" Target="../media/image5.emf"/><Relationship Id="rId5" Type="http://schemas.openxmlformats.org/officeDocument/2006/relationships/oleObject" Target="../embeddings/oleObject88.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3.pn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vmlDrawing" Target="../drawings/vmlDrawing89.vml"/><Relationship Id="rId6" Type="http://schemas.openxmlformats.org/officeDocument/2006/relationships/image" Target="../media/image5.emf"/><Relationship Id="rId5" Type="http://schemas.openxmlformats.org/officeDocument/2006/relationships/oleObject" Target="../embeddings/oleObject89.bin"/><Relationship Id="rId4"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167.xml"/><Relationship Id="rId7" Type="http://schemas.openxmlformats.org/officeDocument/2006/relationships/image" Target="../media/image5.emf"/><Relationship Id="rId2" Type="http://schemas.openxmlformats.org/officeDocument/2006/relationships/tags" Target="../tags/tag166.xml"/><Relationship Id="rId1" Type="http://schemas.openxmlformats.org/officeDocument/2006/relationships/vmlDrawing" Target="../drawings/vmlDrawing90.vml"/><Relationship Id="rId6" Type="http://schemas.openxmlformats.org/officeDocument/2006/relationships/oleObject" Target="../embeddings/oleObject90.bin"/><Relationship Id="rId5" Type="http://schemas.openxmlformats.org/officeDocument/2006/relationships/slideMaster" Target="../slideMasters/slideMaster2.xml"/><Relationship Id="rId4" Type="http://schemas.openxmlformats.org/officeDocument/2006/relationships/tags" Target="../tags/tag168.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9.xml"/><Relationship Id="rId1" Type="http://schemas.openxmlformats.org/officeDocument/2006/relationships/vmlDrawing" Target="../drawings/vmlDrawing91.vml"/><Relationship Id="rId6" Type="http://schemas.openxmlformats.org/officeDocument/2006/relationships/image" Target="../media/image3.png"/><Relationship Id="rId5" Type="http://schemas.openxmlformats.org/officeDocument/2006/relationships/image" Target="../media/image8.emf"/><Relationship Id="rId4" Type="http://schemas.openxmlformats.org/officeDocument/2006/relationships/oleObject" Target="../embeddings/oleObject91.bin"/></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171.xml"/><Relationship Id="rId2" Type="http://schemas.openxmlformats.org/officeDocument/2006/relationships/tags" Target="../tags/tag170.xml"/><Relationship Id="rId1" Type="http://schemas.openxmlformats.org/officeDocument/2006/relationships/vmlDrawing" Target="../drawings/vmlDrawing92.vml"/><Relationship Id="rId6" Type="http://schemas.openxmlformats.org/officeDocument/2006/relationships/image" Target="../media/image5.emf"/><Relationship Id="rId5" Type="http://schemas.openxmlformats.org/officeDocument/2006/relationships/oleObject" Target="../embeddings/oleObject92.bin"/><Relationship Id="rId4"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vmlDrawing" Target="../drawings/vmlDrawing93.vml"/><Relationship Id="rId6" Type="http://schemas.openxmlformats.org/officeDocument/2006/relationships/image" Target="../media/image5.emf"/><Relationship Id="rId5" Type="http://schemas.openxmlformats.org/officeDocument/2006/relationships/oleObject" Target="../embeddings/oleObject93.bin"/><Relationship Id="rId4"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tags" Target="../tags/tag174.xml"/><Relationship Id="rId1" Type="http://schemas.openxmlformats.org/officeDocument/2006/relationships/vmlDrawing" Target="../drawings/vmlDrawing94.vml"/><Relationship Id="rId6" Type="http://schemas.openxmlformats.org/officeDocument/2006/relationships/image" Target="../media/image5.emf"/><Relationship Id="rId5" Type="http://schemas.openxmlformats.org/officeDocument/2006/relationships/oleObject" Target="../embeddings/oleObject94.bin"/><Relationship Id="rId4"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vmlDrawing" Target="../drawings/vmlDrawing95.vml"/><Relationship Id="rId6" Type="http://schemas.openxmlformats.org/officeDocument/2006/relationships/image" Target="../media/image5.emf"/><Relationship Id="rId5" Type="http://schemas.openxmlformats.org/officeDocument/2006/relationships/oleObject" Target="../embeddings/oleObject95.bin"/><Relationship Id="rId4"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178.xml"/><Relationship Id="rId1" Type="http://schemas.openxmlformats.org/officeDocument/2006/relationships/vmlDrawing" Target="../drawings/vmlDrawing96.vml"/><Relationship Id="rId6" Type="http://schemas.openxmlformats.org/officeDocument/2006/relationships/image" Target="../media/image10.jpeg"/><Relationship Id="rId5" Type="http://schemas.openxmlformats.org/officeDocument/2006/relationships/image" Target="../media/image2.emf"/><Relationship Id="rId4" Type="http://schemas.openxmlformats.org/officeDocument/2006/relationships/oleObject" Target="../embeddings/oleObject96.bin"/></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vmlDrawing" Target="../drawings/vmlDrawing97.vml"/><Relationship Id="rId6" Type="http://schemas.openxmlformats.org/officeDocument/2006/relationships/image" Target="../media/image5.emf"/><Relationship Id="rId5" Type="http://schemas.openxmlformats.org/officeDocument/2006/relationships/oleObject" Target="../embeddings/oleObject97.bin"/><Relationship Id="rId4"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2.xml"/><Relationship Id="rId7" Type="http://schemas.openxmlformats.org/officeDocument/2006/relationships/image" Target="../media/image10.jpeg"/><Relationship Id="rId2" Type="http://schemas.openxmlformats.org/officeDocument/2006/relationships/tags" Target="../tags/tag181.xml"/><Relationship Id="rId1" Type="http://schemas.openxmlformats.org/officeDocument/2006/relationships/vmlDrawing" Target="../drawings/vmlDrawing98.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9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12349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60572"/>
            <a:ext cx="580573" cy="6858000"/>
          </a:xfrm>
          <a:prstGeom prst="rect">
            <a:avLst/>
          </a:prstGeom>
        </p:spPr>
      </p:pic>
      <p:pic>
        <p:nvPicPr>
          <p:cNvPr id="3" name="Picture 2"/>
          <p:cNvPicPr>
            <a:picLocks noChangeAspect="1"/>
          </p:cNvPicPr>
          <p:nvPr userDrawn="1"/>
        </p:nvPicPr>
        <p:blipFill>
          <a:blip r:embed="rId8"/>
          <a:stretch>
            <a:fillRect/>
          </a:stretch>
        </p:blipFill>
        <p:spPr>
          <a:xfrm>
            <a:off x="0" y="-15972"/>
            <a:ext cx="12200006" cy="5230752"/>
          </a:xfrm>
          <a:prstGeom prst="rect">
            <a:avLst/>
          </a:prstGeom>
        </p:spPr>
      </p:pic>
      <p:sp>
        <p:nvSpPr>
          <p:cNvPr id="19" name="Rectangle 18"/>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ea typeface="+mn-ea"/>
              <a:cs typeface="+mn-cs"/>
              <a:sym typeface="+mn-lt"/>
            </a:endParaRPr>
          </a:p>
        </p:txBody>
      </p:sp>
      <p:sp>
        <p:nvSpPr>
          <p:cNvPr id="23"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4"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5"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3729849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0531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1217570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80136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fld id="{DA4EB046-DCD0-4DC2-AD63-AB329AC06B6B}" type="datetime1">
              <a:rPr lang="en-US" smtClean="0"/>
              <a:t>4/20/2021</a:t>
            </a:fld>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072238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6"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54317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fld id="{7060A1C4-3A20-46DF-98A1-CB3764B934FC}" type="datetime1">
              <a:rPr lang="en-US" smtClean="0"/>
              <a:t>4/20/2021</a:t>
            </a:fld>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2329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4D621FE7-496F-4001-952E-DB7B6131C9FF}" type="datetime1">
              <a:rPr lang="en-US" smtClean="0"/>
              <a:t>4/20/2021</a:t>
            </a:fld>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xmlns=""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2553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8"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07017716-32CF-4566-B271-97B20754B0B3}" type="datetime1">
              <a:rPr lang="en-US" smtClean="0"/>
              <a:t>4/20/2021</a:t>
            </a:fld>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89098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4B0F95D9-A8A9-4405-8922-E5B5427BD0D5}" type="datetime1">
              <a:rPr lang="en-US" smtClean="0"/>
              <a:t>4/20/2021</a:t>
            </a:fld>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82133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397BEDB9-6F10-45D0-AF50-632DAF205DC7}" type="datetime1">
              <a:rPr lang="en-US" smtClean="0"/>
              <a:t>4/20/2021</a:t>
            </a:fld>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89919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B5A2E4FE-FE46-450C-8709-F04D60C6A884}" type="datetime1">
              <a:rPr lang="en-US" smtClean="0"/>
              <a:t>4/20/2021</a:t>
            </a:fld>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09033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3F993500-CC48-44DE-B354-AB47BA4FB97F}" type="datetime1">
              <a:rPr lang="en-US" smtClean="0"/>
              <a:t>4/20/2021</a:t>
            </a:fld>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103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68D1485E-D9A0-4635-810C-46838815F332}" type="datetime1">
              <a:rPr lang="en-US" smtClean="0"/>
              <a:t>4/20/2021</a:t>
            </a:fld>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77532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2531274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13083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6AD6AFDF-A1C0-452F-8D27-8C68B83DF875}" type="datetime1">
              <a:rPr lang="en-US" smtClean="0"/>
              <a:t>4/20/2021</a:t>
            </a:fld>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128625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16"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CAB6861E-3C7B-4464-848A-371B27A5AF56}" type="datetime1">
              <a:rPr lang="en-US" smtClean="0"/>
              <a:t>4/20/2021</a:t>
            </a:fld>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60593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57224891-3CB1-452B-BF83-791EDEFDE0A8}" type="datetime1">
              <a:rPr lang="en-US" smtClean="0"/>
              <a:t>4/20/2021</a:t>
            </a:fld>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6163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633B42D0-D03A-4EDD-8B35-A4DD4A2182C5}" type="datetime1">
              <a:rPr lang="en-US" smtClean="0"/>
              <a:t>4/20/2021</a:t>
            </a:fld>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46620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9676F30A-5937-480C-AE42-CF4FE6362E67}" type="datetime1">
              <a:rPr lang="en-US" smtClean="0"/>
              <a:t>4/20/2021</a:t>
            </a:fld>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06980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2"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1602AE53-EB86-4979-BB1E-3F8F23D676B4}" type="datetime1">
              <a:rPr lang="en-US" smtClean="0"/>
              <a:t>4/20/2021</a:t>
            </a:fld>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28973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E122AC1A-E89D-48EA-8FE9-61FDAB070BF0}" type="datetime1">
              <a:rPr lang="en-US" smtClean="0"/>
              <a:t>4/20/2021</a:t>
            </a:fld>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84885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E3DB8247-1941-4B9B-9C84-4E3BF71B762E}" type="datetime1">
              <a:rPr lang="en-US" smtClean="0"/>
              <a:t>4/20/2021</a:t>
            </a:fld>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92972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4"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DD72558C-565B-48E3-BDBA-0897A5E2499B}" type="datetime1">
              <a:rPr lang="en-US" smtClean="0"/>
              <a:t>4/20/2021</a:t>
            </a:fld>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04180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6E99C6E3-2ABF-408B-9836-7810654C5429}" type="datetime1">
              <a:rPr lang="en-US" smtClean="0"/>
              <a:t>4/20/2021</a:t>
            </a:fld>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00029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8640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96768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2"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fld id="{D4D48D8D-1880-4C1F-BE80-A5E918BF513C}" type="datetime1">
              <a:rPr lang="en-US" smtClean="0"/>
              <a:t>4/20/2021</a:t>
            </a:fld>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big statement text</a:t>
            </a:r>
          </a:p>
        </p:txBody>
      </p:sp>
      <p:sp>
        <p:nvSpPr>
          <p:cNvPr id="9" name="FooterSimple" hidden="1"/>
          <p:cNvSpPr txBox="1"/>
          <p:nvPr userDrawn="1">
            <p:custDataLst>
              <p:tags r:id="rId4"/>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188881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56"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fld id="{9D191DDA-8AEC-4647-83D3-798DB0B6AD7F}" type="datetime1">
              <a:rPr lang="en-US" smtClean="0"/>
              <a:t>4/20/2021</a:t>
            </a:fld>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528112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80"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fld id="{2DD12FD9-9AF7-4B61-873A-EF3996E628DC}" type="datetime1">
              <a:rPr lang="en-US" smtClean="0"/>
              <a:t>4/20/2021</a:t>
            </a:fld>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ea typeface="+mj-ea"/>
                <a:cs typeface="+mj-cs"/>
                <a:sym typeface="+mj-lt"/>
              </a:defRPr>
            </a:lvl1pPr>
          </a:lstStyle>
          <a:p>
            <a:r>
              <a:rPr lang="en-US"/>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85912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4"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420A1B76-CA55-40E4-8249-D048D9CA7E1E}" type="datetime1">
              <a:rPr lang="en-US" smtClean="0"/>
              <a:t>4/20/2021</a:t>
            </a:fld>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3218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8"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FC2743C4-A21F-4953-A96A-23DED7A1628C}" type="datetime1">
              <a:rPr lang="en-US" smtClean="0"/>
              <a:t>4/20/2021</a:t>
            </a:fld>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14323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2"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fld id="{1DE1FA6E-5A97-4165-B58E-A11DD7825627}" type="datetime1">
              <a:rPr lang="en-US" smtClean="0"/>
              <a:t>4/20/2021</a:t>
            </a:fld>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3146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6"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fld id="{033DF0E0-7AA6-4DDF-B162-ED3B376F283C}" type="datetime1">
              <a:rPr lang="en-US" smtClean="0"/>
              <a:t>4/20/2021</a:t>
            </a:fld>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293937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0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t="1566" b="1878"/>
          <a:stretch/>
        </p:blipFill>
        <p:spPr>
          <a:xfrm>
            <a:off x="0" y="0"/>
            <a:ext cx="12193874" cy="6858000"/>
          </a:xfrm>
          <a:prstGeom prst="rect">
            <a:avLst/>
          </a:prstGeom>
          <a:noFill/>
          <a:ln>
            <a:noFill/>
          </a:ln>
        </p:spPr>
      </p:pic>
      <p:sp>
        <p:nvSpPr>
          <p:cNvPr id="11" name="Rectangle 1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ea typeface="+mn-ea"/>
              <a:cs typeface="+mn-cs"/>
              <a:sym typeface="+mn-lt"/>
            </a:endParaRPr>
          </a:p>
        </p:txBody>
      </p:sp>
      <p:pic>
        <p:nvPicPr>
          <p:cNvPr id="12" name="Picture 11"/>
          <p:cNvPicPr>
            <a:picLocks noChangeAspect="1"/>
          </p:cNvPicPr>
          <p:nvPr userDrawn="1"/>
        </p:nvPicPr>
        <p:blipFill rotWithShape="1">
          <a:blip r:embed="rId7">
            <a:clrChange>
              <a:clrFrom>
                <a:srgbClr val="1CABE2"/>
              </a:clrFrom>
              <a:clrTo>
                <a:srgbClr val="1CABE2">
                  <a:alpha val="0"/>
                </a:srgbClr>
              </a:clrTo>
            </a:clrChange>
          </a:blip>
          <a:srcRect r="29042"/>
          <a:stretch/>
        </p:blipFill>
        <p:spPr>
          <a:xfrm>
            <a:off x="2187718" y="2746978"/>
            <a:ext cx="5011636" cy="1288043"/>
          </a:xfrm>
          <a:prstGeom prst="rect">
            <a:avLst/>
          </a:prstGeom>
        </p:spPr>
      </p:pic>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65934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017898EA-EFA1-4D01-A196-D44F15E74B85}" type="datetime1">
              <a:rPr lang="en-US" smtClean="0"/>
              <a:t>4/20/2021</a:t>
            </a:fld>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819877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4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xmlns="">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8"/>
            <a:ext cx="3447288"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392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63806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731179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7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641111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19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67480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2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563753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4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tx2"/>
            </a:solidFill>
            <a:prstDash val="solid"/>
            <a:miter lim="800000"/>
          </a:ln>
          <a:extLst>
            <a:ext uri="{909E8E84-426E-40dd-AFC4-6F175D3DCCD1}">
              <a14:hiddenFill xmlns:a14="http://schemas.microsoft.com/office/drawing/2010/main" xmlns="">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tx2"/>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solidFill>
                  <a:schemeClr val="tx2"/>
                </a:solidFill>
                <a:latin typeface="+mn-lt"/>
                <a:ea typeface="+mn-ea"/>
                <a:cs typeface="+mn-cs"/>
                <a:sym typeface="+mn-lt"/>
              </a:rPr>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12110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6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56169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29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tx2"/>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1563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1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304406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4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A57B6-6838-4DCB-8AF5-3A1E5AA428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6070378-7442-4E26-AA06-982E912D322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656452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DC4CE-1C50-484F-8542-C4B2754299E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387500E-E346-4FAD-8399-8ADF59AFBE9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Rectangle 6">
            <a:extLst>
              <a:ext uri="{FF2B5EF4-FFF2-40B4-BE49-F238E27FC236}">
                <a16:creationId xmlns:a16="http://schemas.microsoft.com/office/drawing/2014/main" id="{453FE2E9-69EE-40A4-80C6-E9C2FDF4347A}"/>
              </a:ext>
            </a:extLst>
          </p:cNvPr>
          <p:cNvSpPr/>
          <p:nvPr userDrawn="1"/>
        </p:nvSpPr>
        <p:spPr>
          <a:xfrm>
            <a:off x="11725206" y="0"/>
            <a:ext cx="466794" cy="369332"/>
          </a:xfrm>
          <a:prstGeom prst="rect">
            <a:avLst/>
          </a:prstGeom>
        </p:spPr>
        <p:txBody>
          <a:bodyPr wrap="square">
            <a:spAutoFit/>
          </a:bodyPr>
          <a:lstStyle/>
          <a:p>
            <a:fld id="{8360E1E9-D6EF-4276-AB95-7358239A3AC3}" type="slidenum">
              <a:rPr lang="en-US" smtClean="0"/>
              <a:pPr/>
              <a:t>‹#›</a:t>
            </a:fld>
            <a:endParaRPr lang="en-US"/>
          </a:p>
        </p:txBody>
      </p:sp>
    </p:spTree>
    <p:extLst>
      <p:ext uri="{BB962C8B-B14F-4D97-AF65-F5344CB8AC3E}">
        <p14:creationId xmlns:p14="http://schemas.microsoft.com/office/powerpoint/2010/main" val="25789073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045958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4"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699013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78144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69331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41423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740988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53727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517293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74803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797761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82756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189800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24821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941654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308686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2744548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04133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big statement text</a:t>
            </a:r>
          </a:p>
        </p:txBody>
      </p:sp>
      <p:sp>
        <p:nvSpPr>
          <p:cNvPr id="10" name="FooterSimple" hidden="1"/>
          <p:cNvSpPr txBox="1"/>
          <p:nvPr userDrawn="1">
            <p:custDataLst>
              <p:tags r:id="rId4"/>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4031943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3684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6"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1200861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500461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0"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ea typeface="+mj-ea"/>
                <a:cs typeface="+mj-cs"/>
                <a:sym typeface="+mj-lt"/>
              </a:defRPr>
            </a:lvl1pPr>
          </a:lstStyle>
          <a:p>
            <a:r>
              <a:rPr lang="en-US"/>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1328563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80527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4"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1933644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66708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198535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9046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1110763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653919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1566" b="1878"/>
          <a:stretch/>
        </p:blipFill>
        <p:spPr>
          <a:xfrm>
            <a:off x="0" y="0"/>
            <a:ext cx="12193874" cy="6858000"/>
          </a:xfrm>
          <a:prstGeom prst="rect">
            <a:avLst/>
          </a:prstGeom>
          <a:noFill/>
          <a:ln>
            <a:noFill/>
          </a:ln>
        </p:spPr>
      </p:pic>
      <p:sp>
        <p:nvSpPr>
          <p:cNvPr id="11" name="Rectangle 1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ea typeface="+mn-ea"/>
              <a:cs typeface="+mn-cs"/>
              <a:sym typeface="+mn-lt"/>
            </a:endParaRPr>
          </a:p>
        </p:txBody>
      </p:sp>
      <p:pic>
        <p:nvPicPr>
          <p:cNvPr id="12" name="Picture 11"/>
          <p:cNvPicPr>
            <a:picLocks noChangeAspect="1"/>
          </p:cNvPicPr>
          <p:nvPr userDrawn="1"/>
        </p:nvPicPr>
        <p:blipFill rotWithShape="1">
          <a:blip r:embed="rId7">
            <a:clrChange>
              <a:clrFrom>
                <a:srgbClr val="1CABE2"/>
              </a:clrFrom>
              <a:clrTo>
                <a:srgbClr val="1CABE2">
                  <a:alpha val="0"/>
                </a:srgbClr>
              </a:clrTo>
            </a:clrChange>
          </a:blip>
          <a:srcRect r="29042"/>
          <a:stretch/>
        </p:blipFill>
        <p:spPr>
          <a:xfrm>
            <a:off x="2187718" y="2746978"/>
            <a:ext cx="5011636" cy="1288043"/>
          </a:xfrm>
          <a:prstGeom prst="rect">
            <a:avLst/>
          </a:prstGeom>
        </p:spPr>
      </p:pic>
    </p:spTree>
    <p:extLst>
      <p:ext uri="{BB962C8B-B14F-4D97-AF65-F5344CB8AC3E}">
        <p14:creationId xmlns:p14="http://schemas.microsoft.com/office/powerpoint/2010/main" val="1231947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03371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40390615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1530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4"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pic>
        <p:nvPicPr>
          <p:cNvPr id="17" name="Picture 16"/>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p:blipFill>
        <p:spPr>
          <a:xfrm rot="16200000" flipH="1">
            <a:off x="8471921" y="1960572"/>
            <a:ext cx="580573" cy="6858000"/>
          </a:xfrm>
          <a:prstGeom prst="rect">
            <a:avLst/>
          </a:prstGeom>
        </p:spPr>
      </p:pic>
      <p:pic>
        <p:nvPicPr>
          <p:cNvPr id="19" name="Picture 18"/>
          <p:cNvPicPr>
            <a:picLocks noChangeAspect="1"/>
          </p:cNvPicPr>
          <p:nvPr userDrawn="1"/>
        </p:nvPicPr>
        <p:blipFill rotWithShape="1">
          <a:blip r:embed="rId7">
            <a:extLst>
              <a:ext uri="{28A0092B-C50C-407E-A947-70E740481C1C}">
                <a14:useLocalDpi xmlns:a14="http://schemas.microsoft.com/office/drawing/2010/main" val="0"/>
              </a:ext>
            </a:extLst>
          </a:blip>
          <a:srcRect t="12070" b="14284"/>
          <a:stretch/>
        </p:blipFill>
        <p:spPr>
          <a:xfrm>
            <a:off x="0" y="-15972"/>
            <a:ext cx="12193874" cy="5230752"/>
          </a:xfrm>
          <a:prstGeom prst="rect">
            <a:avLst/>
          </a:prstGeom>
          <a:noFill/>
          <a:ln>
            <a:noFill/>
          </a:ln>
        </p:spPr>
      </p:pic>
      <p:sp>
        <p:nvSpPr>
          <p:cNvPr id="23" name="Rectangle 22"/>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ea typeface="+mn-ea"/>
              <a:cs typeface="+mn-cs"/>
              <a:sym typeface="+mn-lt"/>
            </a:endParaRPr>
          </a:p>
        </p:txBody>
      </p:sp>
      <p:sp>
        <p:nvSpPr>
          <p:cNvPr id="24"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5"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8"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ea typeface="+mj-ea"/>
                <a:cs typeface="+mj-cs"/>
                <a:sym typeface="+mj-lt"/>
              </a:defRPr>
            </a:lvl1pPr>
          </a:lstStyle>
          <a:p>
            <a:r>
              <a:rPr lang="en-US"/>
              <a:t>Title in Title Case</a:t>
            </a:r>
          </a:p>
        </p:txBody>
      </p:sp>
      <p:pic>
        <p:nvPicPr>
          <p:cNvPr id="29" name="Picture 28"/>
          <p:cNvPicPr>
            <a:picLocks noChangeAspect="1"/>
          </p:cNvPicPr>
          <p:nvPr userDrawn="1"/>
        </p:nvPicPr>
        <p:blipFill rotWithShape="1">
          <a:blip r:embed="rId8"/>
          <a:srcRect t="19288" b="20968"/>
          <a:stretch/>
        </p:blipFill>
        <p:spPr>
          <a:xfrm>
            <a:off x="9233860" y="5381791"/>
            <a:ext cx="2133333" cy="1274535"/>
          </a:xfrm>
          <a:prstGeom prst="rect">
            <a:avLst/>
          </a:prstGeom>
        </p:spPr>
      </p:pic>
    </p:spTree>
    <p:extLst>
      <p:ext uri="{BB962C8B-B14F-4D97-AF65-F5344CB8AC3E}">
        <p14:creationId xmlns:p14="http://schemas.microsoft.com/office/powerpoint/2010/main" val="3557250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5300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Tree>
    <p:extLst>
      <p:ext uri="{BB962C8B-B14F-4D97-AF65-F5344CB8AC3E}">
        <p14:creationId xmlns:p14="http://schemas.microsoft.com/office/powerpoint/2010/main" val="38529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89354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4169705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174360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2"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Tree>
    <p:extLst>
      <p:ext uri="{BB962C8B-B14F-4D97-AF65-F5344CB8AC3E}">
        <p14:creationId xmlns:p14="http://schemas.microsoft.com/office/powerpoint/2010/main" val="604268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01730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14372944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97136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xmlns=""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3712940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66761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4910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317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3687044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16119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2"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2215768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5281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3845077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71760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404316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01726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2297287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08416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Tree>
    <p:extLst>
      <p:ext uri="{BB962C8B-B14F-4D97-AF65-F5344CB8AC3E}">
        <p14:creationId xmlns:p14="http://schemas.microsoft.com/office/powerpoint/2010/main" val="1706084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31375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2318216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072978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2"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717041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82182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45347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05408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106735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95191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675611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701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8"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145867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30237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2"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7497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58045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34361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19242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266880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81699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4051338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708333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2765382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29102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8"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big statement text</a:t>
            </a:r>
          </a:p>
        </p:txBody>
      </p:sp>
      <p:sp>
        <p:nvSpPr>
          <p:cNvPr id="9" name="FooterSimple" hidden="1"/>
          <p:cNvSpPr txBox="1"/>
          <p:nvPr userDrawn="1">
            <p:custDataLst>
              <p:tags r:id="rId4"/>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3461505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855546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2"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002678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229276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6"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ea typeface="+mj-ea"/>
                <a:cs typeface="+mj-cs"/>
                <a:sym typeface="+mj-lt"/>
              </a:defRPr>
            </a:lvl1pPr>
          </a:lstStyle>
          <a:p>
            <a:r>
              <a:rPr lang="en-US"/>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3209612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68717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0"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796035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59259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4"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4114214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15218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8"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1082761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85718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2"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2022256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569462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t="1566" b="1878"/>
          <a:stretch/>
        </p:blipFill>
        <p:spPr>
          <a:xfrm>
            <a:off x="0" y="0"/>
            <a:ext cx="12193874" cy="6858000"/>
          </a:xfrm>
          <a:prstGeom prst="rect">
            <a:avLst/>
          </a:prstGeom>
          <a:noFill/>
          <a:ln>
            <a:noFill/>
          </a:ln>
        </p:spPr>
      </p:pic>
      <p:sp>
        <p:nvSpPr>
          <p:cNvPr id="11" name="Rectangle 1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ea typeface="+mn-ea"/>
              <a:cs typeface="+mn-cs"/>
              <a:sym typeface="+mn-lt"/>
            </a:endParaRPr>
          </a:p>
        </p:txBody>
      </p:sp>
      <p:pic>
        <p:nvPicPr>
          <p:cNvPr id="12" name="Picture 11"/>
          <p:cNvPicPr>
            <a:picLocks noChangeAspect="1"/>
          </p:cNvPicPr>
          <p:nvPr userDrawn="1"/>
        </p:nvPicPr>
        <p:blipFill rotWithShape="1">
          <a:blip r:embed="rId7">
            <a:clrChange>
              <a:clrFrom>
                <a:srgbClr val="1CABE2"/>
              </a:clrFrom>
              <a:clrTo>
                <a:srgbClr val="1CABE2">
                  <a:alpha val="0"/>
                </a:srgbClr>
              </a:clrTo>
            </a:clrChange>
          </a:blip>
          <a:srcRect r="29042"/>
          <a:stretch/>
        </p:blipFill>
        <p:spPr>
          <a:xfrm>
            <a:off x="2187718" y="2746978"/>
            <a:ext cx="5011636" cy="1288043"/>
          </a:xfrm>
          <a:prstGeom prst="rect">
            <a:avLst/>
          </a:prstGeom>
        </p:spPr>
      </p:pic>
    </p:spTree>
    <p:extLst>
      <p:ext uri="{BB962C8B-B14F-4D97-AF65-F5344CB8AC3E}">
        <p14:creationId xmlns:p14="http://schemas.microsoft.com/office/powerpoint/2010/main" val="1826032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428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366482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567228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xmlns="">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8"/>
            <a:ext cx="3447288"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956195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8441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1814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38533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3142745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475126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376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1681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195066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403286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4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tx2"/>
            </a:solidFill>
            <a:prstDash val="solid"/>
            <a:miter lim="800000"/>
          </a:ln>
          <a:extLst>
            <a:ext uri="{909E8E84-426E-40dd-AFC4-6F175D3DCCD1}">
              <a14:hiddenFill xmlns:a14="http://schemas.microsoft.com/office/drawing/2010/main" xmlns="">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tx2"/>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solidFill>
                  <a:schemeClr val="tx2"/>
                </a:solidFill>
                <a:latin typeface="+mn-lt"/>
                <a:ea typeface="+mn-ea"/>
                <a:cs typeface="+mn-cs"/>
                <a:sym typeface="+mn-lt"/>
              </a:rPr>
              <a:t>Agenda</a:t>
            </a:r>
          </a:p>
        </p:txBody>
      </p:sp>
    </p:spTree>
    <p:extLst>
      <p:ext uri="{BB962C8B-B14F-4D97-AF65-F5344CB8AC3E}">
        <p14:creationId xmlns:p14="http://schemas.microsoft.com/office/powerpoint/2010/main" val="1373732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595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707199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870574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tx2"/>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5599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18902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4252065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08892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981656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ITLE" userDrawn="1">
  <p:cSld name="TITLE">
    <p:spTree>
      <p:nvGrpSpPr>
        <p:cNvPr id="1" name="Shape 93"/>
        <p:cNvGrpSpPr/>
        <p:nvPr/>
      </p:nvGrpSpPr>
      <p:grpSpPr>
        <a:xfrm>
          <a:off x="0" y="0"/>
          <a:ext cx="0" cy="0"/>
          <a:chOff x="0" y="0"/>
          <a:chExt cx="0" cy="0"/>
        </a:xfrm>
      </p:grpSpPr>
      <p:sp>
        <p:nvSpPr>
          <p:cNvPr id="95" name="Google Shape;95;p32"/>
          <p:cNvSpPr txBox="1">
            <a:spLocks noGrp="1"/>
          </p:cNvSpPr>
          <p:nvPr>
            <p:ph type="subTitle" idx="1"/>
          </p:nvPr>
        </p:nvSpPr>
        <p:spPr>
          <a:xfrm>
            <a:off x="1524000" y="3602037"/>
            <a:ext cx="9144000" cy="1655763"/>
          </a:xfrm>
          <a:prstGeom prst="rect">
            <a:avLst/>
          </a:prstGeom>
          <a:noFill/>
          <a:ln>
            <a:noFill/>
          </a:ln>
        </p:spPr>
        <p:txBody>
          <a:bodyPr spcFirstLastPara="1" wrap="square" lIns="91425" tIns="45700" rIns="91425" bIns="45700" anchor="t" anchorCtr="0">
            <a:noAutofit/>
          </a:bodyPr>
          <a:lstStyle>
            <a:lvl1pPr marR="0" lvl="0" algn="ctr" rtl="0">
              <a:lnSpc>
                <a:spcPct val="90000"/>
              </a:lnSpc>
              <a:spcBef>
                <a:spcPts val="1000"/>
              </a:spcBef>
              <a:spcAft>
                <a:spcPts val="0"/>
              </a:spcAft>
              <a:buClr>
                <a:schemeClr val="dk1"/>
              </a:buClr>
              <a:buSzPts val="2400"/>
              <a:buFont typeface="Arial"/>
              <a:buNone/>
              <a:defRPr sz="2400" b="0" i="0" u="none" strike="noStrike" cap="none">
                <a:solidFill>
                  <a:srgbClr val="000000"/>
                </a:solidFill>
                <a:latin typeface="Arial"/>
                <a:ea typeface="Arial"/>
                <a:cs typeface="Arial"/>
                <a:sym typeface="Arial"/>
              </a:defRPr>
            </a:lvl1pPr>
            <a:lvl2pPr marR="0" lvl="1" algn="ctr" rtl="0">
              <a:lnSpc>
                <a:spcPct val="90000"/>
              </a:lnSpc>
              <a:spcBef>
                <a:spcPts val="500"/>
              </a:spcBef>
              <a:spcAft>
                <a:spcPts val="0"/>
              </a:spcAft>
              <a:buClr>
                <a:schemeClr val="dk1"/>
              </a:buClr>
              <a:buSzPts val="2000"/>
              <a:buFont typeface="Arial"/>
              <a:buNone/>
              <a:defRPr sz="2000" b="0" i="0" u="none" strike="noStrike" cap="none">
                <a:solidFill>
                  <a:srgbClr val="000000"/>
                </a:solidFill>
                <a:latin typeface="Arial"/>
                <a:ea typeface="Arial"/>
                <a:cs typeface="Arial"/>
                <a:sym typeface="Arial"/>
              </a:defRPr>
            </a:lvl2pPr>
            <a:lvl3pPr marR="0" lvl="2" algn="ctr" rtl="0">
              <a:lnSpc>
                <a:spcPct val="90000"/>
              </a:lnSpc>
              <a:spcBef>
                <a:spcPts val="500"/>
              </a:spcBef>
              <a:spcAft>
                <a:spcPts val="0"/>
              </a:spcAft>
              <a:buClr>
                <a:schemeClr val="dk1"/>
              </a:buClr>
              <a:buSzPts val="1800"/>
              <a:buFont typeface="Arial"/>
              <a:buNone/>
              <a:defRPr sz="1800" b="0" i="0" u="none" strike="noStrike" cap="none">
                <a:solidFill>
                  <a:srgbClr val="000000"/>
                </a:solidFill>
                <a:latin typeface="Arial"/>
                <a:ea typeface="Arial"/>
                <a:cs typeface="Arial"/>
                <a:sym typeface="Arial"/>
              </a:defRPr>
            </a:lvl3pPr>
            <a:lvl4pPr marR="0" lvl="3" algn="ctr" rtl="0">
              <a:lnSpc>
                <a:spcPct val="90000"/>
              </a:lnSpc>
              <a:spcBef>
                <a:spcPts val="500"/>
              </a:spcBef>
              <a:spcAft>
                <a:spcPts val="0"/>
              </a:spcAft>
              <a:buClr>
                <a:schemeClr val="dk1"/>
              </a:buClr>
              <a:buSzPts val="1600"/>
              <a:buFont typeface="Arial"/>
              <a:buNone/>
              <a:defRPr sz="1600" b="0" i="0" u="none" strike="noStrike" cap="none">
                <a:solidFill>
                  <a:srgbClr val="000000"/>
                </a:solidFill>
                <a:latin typeface="Arial"/>
                <a:ea typeface="Arial"/>
                <a:cs typeface="Arial"/>
                <a:sym typeface="Arial"/>
              </a:defRPr>
            </a:lvl4pPr>
            <a:lvl5pPr marR="0" lvl="4" algn="ctr" rtl="0">
              <a:lnSpc>
                <a:spcPct val="90000"/>
              </a:lnSpc>
              <a:spcBef>
                <a:spcPts val="500"/>
              </a:spcBef>
              <a:spcAft>
                <a:spcPts val="0"/>
              </a:spcAft>
              <a:buClr>
                <a:schemeClr val="dk1"/>
              </a:buClr>
              <a:buSzPts val="1600"/>
              <a:buFont typeface="Arial"/>
              <a:buNone/>
              <a:defRPr sz="1600" b="0" i="0" u="none" strike="noStrike" cap="none">
                <a:solidFill>
                  <a:srgbClr val="000000"/>
                </a:solidFill>
                <a:latin typeface="Arial"/>
                <a:ea typeface="Arial"/>
                <a:cs typeface="Arial"/>
                <a:sym typeface="Arial"/>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rgbClr val="000000"/>
                </a:solidFill>
                <a:latin typeface="Arial"/>
                <a:ea typeface="Arial"/>
                <a:cs typeface="Arial"/>
                <a:sym typeface="Arial"/>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rgbClr val="000000"/>
                </a:solidFill>
                <a:latin typeface="Arial"/>
                <a:ea typeface="Arial"/>
                <a:cs typeface="Arial"/>
                <a:sym typeface="Arial"/>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rgbClr val="000000"/>
                </a:solidFill>
                <a:latin typeface="Arial"/>
                <a:ea typeface="Arial"/>
                <a:cs typeface="Arial"/>
                <a:sym typeface="Arial"/>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rgbClr val="000000"/>
                </a:solidFill>
                <a:latin typeface="Arial"/>
                <a:ea typeface="Arial"/>
                <a:cs typeface="Arial"/>
                <a:sym typeface="Arial"/>
              </a:defRPr>
            </a:lvl9pPr>
          </a:lstStyle>
          <a:p>
            <a:endParaRPr/>
          </a:p>
        </p:txBody>
      </p:sp>
      <p:sp>
        <p:nvSpPr>
          <p:cNvPr id="2" name="Title 1">
            <a:extLst>
              <a:ext uri="{FF2B5EF4-FFF2-40B4-BE49-F238E27FC236}">
                <a16:creationId xmlns:a16="http://schemas.microsoft.com/office/drawing/2014/main" id="{2E726B05-C752-4551-AD61-CCF6D4F284F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40069653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Blank color">
  <p:cSld name="Blank color">
    <p:bg>
      <p:bgPr>
        <a:solidFill>
          <a:schemeClr val="accent1"/>
        </a:solidFill>
        <a:effectLst/>
      </p:bgPr>
    </p:bg>
    <p:spTree>
      <p:nvGrpSpPr>
        <p:cNvPr id="1" name="Shape 1775"/>
        <p:cNvGrpSpPr/>
        <p:nvPr/>
      </p:nvGrpSpPr>
      <p:grpSpPr>
        <a:xfrm>
          <a:off x="0" y="0"/>
          <a:ext cx="0" cy="0"/>
          <a:chOff x="0" y="0"/>
          <a:chExt cx="0" cy="0"/>
        </a:xfrm>
      </p:grpSpPr>
      <p:grpSp>
        <p:nvGrpSpPr>
          <p:cNvPr id="1776" name="Google Shape;1776;p12"/>
          <p:cNvGrpSpPr/>
          <p:nvPr/>
        </p:nvGrpSpPr>
        <p:grpSpPr>
          <a:xfrm>
            <a:off x="4" y="1817138"/>
            <a:ext cx="1107989" cy="2463916"/>
            <a:chOff x="3" y="1439053"/>
            <a:chExt cx="830992" cy="1847937"/>
          </a:xfrm>
        </p:grpSpPr>
        <p:sp>
          <p:nvSpPr>
            <p:cNvPr id="1777" name="Google Shape;1777;p12"/>
            <p:cNvSpPr/>
            <p:nvPr/>
          </p:nvSpPr>
          <p:spPr>
            <a:xfrm>
              <a:off x="3" y="1598235"/>
              <a:ext cx="698630" cy="1537982"/>
            </a:xfrm>
            <a:custGeom>
              <a:avLst/>
              <a:gdLst/>
              <a:ahLst/>
              <a:cxnLst/>
              <a:rect l="l" t="t" r="r" b="b"/>
              <a:pathLst>
                <a:path w="14040" h="30908" extrusionOk="0">
                  <a:moveTo>
                    <a:pt x="0" y="0"/>
                  </a:moveTo>
                  <a:lnTo>
                    <a:pt x="0" y="135"/>
                  </a:lnTo>
                  <a:lnTo>
                    <a:pt x="303" y="236"/>
                  </a:lnTo>
                  <a:lnTo>
                    <a:pt x="606" y="371"/>
                  </a:lnTo>
                  <a:lnTo>
                    <a:pt x="1178" y="674"/>
                  </a:lnTo>
                  <a:lnTo>
                    <a:pt x="1549" y="842"/>
                  </a:lnTo>
                  <a:lnTo>
                    <a:pt x="1953" y="977"/>
                  </a:lnTo>
                  <a:lnTo>
                    <a:pt x="2761" y="1179"/>
                  </a:lnTo>
                  <a:lnTo>
                    <a:pt x="3703" y="1448"/>
                  </a:lnTo>
                  <a:lnTo>
                    <a:pt x="4613" y="1717"/>
                  </a:lnTo>
                  <a:lnTo>
                    <a:pt x="5522" y="2020"/>
                  </a:lnTo>
                  <a:lnTo>
                    <a:pt x="6397" y="2357"/>
                  </a:lnTo>
                  <a:lnTo>
                    <a:pt x="8215" y="3064"/>
                  </a:lnTo>
                  <a:lnTo>
                    <a:pt x="10067" y="3670"/>
                  </a:lnTo>
                  <a:lnTo>
                    <a:pt x="10976" y="3939"/>
                  </a:lnTo>
                  <a:lnTo>
                    <a:pt x="11885" y="4209"/>
                  </a:lnTo>
                  <a:lnTo>
                    <a:pt x="12794" y="4478"/>
                  </a:lnTo>
                  <a:lnTo>
                    <a:pt x="13703" y="4748"/>
                  </a:lnTo>
                  <a:lnTo>
                    <a:pt x="13703" y="4815"/>
                  </a:lnTo>
                  <a:lnTo>
                    <a:pt x="13737" y="4849"/>
                  </a:lnTo>
                  <a:lnTo>
                    <a:pt x="13770" y="4882"/>
                  </a:lnTo>
                  <a:lnTo>
                    <a:pt x="13669" y="5017"/>
                  </a:lnTo>
                  <a:lnTo>
                    <a:pt x="13568" y="5522"/>
                  </a:lnTo>
                  <a:lnTo>
                    <a:pt x="13400" y="6364"/>
                  </a:lnTo>
                  <a:lnTo>
                    <a:pt x="13164" y="7239"/>
                  </a:lnTo>
                  <a:lnTo>
                    <a:pt x="12895" y="8081"/>
                  </a:lnTo>
                  <a:lnTo>
                    <a:pt x="12626" y="8922"/>
                  </a:lnTo>
                  <a:lnTo>
                    <a:pt x="12053" y="10639"/>
                  </a:lnTo>
                  <a:lnTo>
                    <a:pt x="10841" y="14141"/>
                  </a:lnTo>
                  <a:lnTo>
                    <a:pt x="10235" y="15858"/>
                  </a:lnTo>
                  <a:lnTo>
                    <a:pt x="9562" y="17609"/>
                  </a:lnTo>
                  <a:lnTo>
                    <a:pt x="8989" y="19225"/>
                  </a:lnTo>
                  <a:lnTo>
                    <a:pt x="8383" y="20841"/>
                  </a:lnTo>
                  <a:lnTo>
                    <a:pt x="7272" y="24107"/>
                  </a:lnTo>
                  <a:lnTo>
                    <a:pt x="6161" y="27339"/>
                  </a:lnTo>
                  <a:lnTo>
                    <a:pt x="5017" y="30605"/>
                  </a:lnTo>
                  <a:lnTo>
                    <a:pt x="4680" y="30571"/>
                  </a:lnTo>
                  <a:lnTo>
                    <a:pt x="4411" y="30504"/>
                  </a:lnTo>
                  <a:lnTo>
                    <a:pt x="4175" y="30436"/>
                  </a:lnTo>
                  <a:lnTo>
                    <a:pt x="3703" y="30268"/>
                  </a:lnTo>
                  <a:lnTo>
                    <a:pt x="2693" y="29830"/>
                  </a:lnTo>
                  <a:lnTo>
                    <a:pt x="2222" y="29628"/>
                  </a:lnTo>
                  <a:lnTo>
                    <a:pt x="1717" y="29460"/>
                  </a:lnTo>
                  <a:lnTo>
                    <a:pt x="842" y="29191"/>
                  </a:lnTo>
                  <a:lnTo>
                    <a:pt x="0" y="28888"/>
                  </a:lnTo>
                  <a:lnTo>
                    <a:pt x="0" y="29224"/>
                  </a:lnTo>
                  <a:lnTo>
                    <a:pt x="505" y="29393"/>
                  </a:lnTo>
                  <a:lnTo>
                    <a:pt x="1044" y="29561"/>
                  </a:lnTo>
                  <a:lnTo>
                    <a:pt x="2087" y="29864"/>
                  </a:lnTo>
                  <a:lnTo>
                    <a:pt x="2559" y="30032"/>
                  </a:lnTo>
                  <a:lnTo>
                    <a:pt x="3030" y="30234"/>
                  </a:lnTo>
                  <a:lnTo>
                    <a:pt x="3501" y="30436"/>
                  </a:lnTo>
                  <a:lnTo>
                    <a:pt x="3973" y="30638"/>
                  </a:lnTo>
                  <a:lnTo>
                    <a:pt x="4444" y="30773"/>
                  </a:lnTo>
                  <a:lnTo>
                    <a:pt x="4714" y="30840"/>
                  </a:lnTo>
                  <a:lnTo>
                    <a:pt x="4848" y="30840"/>
                  </a:lnTo>
                  <a:lnTo>
                    <a:pt x="4983" y="30807"/>
                  </a:lnTo>
                  <a:lnTo>
                    <a:pt x="5017" y="30874"/>
                  </a:lnTo>
                  <a:lnTo>
                    <a:pt x="5118" y="30908"/>
                  </a:lnTo>
                  <a:lnTo>
                    <a:pt x="5185" y="30874"/>
                  </a:lnTo>
                  <a:lnTo>
                    <a:pt x="5252" y="30807"/>
                  </a:lnTo>
                  <a:lnTo>
                    <a:pt x="6330" y="27642"/>
                  </a:lnTo>
                  <a:lnTo>
                    <a:pt x="7407" y="24477"/>
                  </a:lnTo>
                  <a:lnTo>
                    <a:pt x="8484" y="21312"/>
                  </a:lnTo>
                  <a:lnTo>
                    <a:pt x="9057" y="19730"/>
                  </a:lnTo>
                  <a:lnTo>
                    <a:pt x="9663" y="18181"/>
                  </a:lnTo>
                  <a:lnTo>
                    <a:pt x="10302" y="16498"/>
                  </a:lnTo>
                  <a:lnTo>
                    <a:pt x="10908" y="14814"/>
                  </a:lnTo>
                  <a:lnTo>
                    <a:pt x="12053" y="11447"/>
                  </a:lnTo>
                  <a:lnTo>
                    <a:pt x="12626" y="9831"/>
                  </a:lnTo>
                  <a:lnTo>
                    <a:pt x="13198" y="8182"/>
                  </a:lnTo>
                  <a:lnTo>
                    <a:pt x="13434" y="7340"/>
                  </a:lnTo>
                  <a:lnTo>
                    <a:pt x="13669" y="6498"/>
                  </a:lnTo>
                  <a:lnTo>
                    <a:pt x="13838" y="5657"/>
                  </a:lnTo>
                  <a:lnTo>
                    <a:pt x="13905" y="4815"/>
                  </a:lnTo>
                  <a:lnTo>
                    <a:pt x="14006" y="4781"/>
                  </a:lnTo>
                  <a:lnTo>
                    <a:pt x="14040" y="4714"/>
                  </a:lnTo>
                  <a:lnTo>
                    <a:pt x="14006" y="4647"/>
                  </a:lnTo>
                  <a:lnTo>
                    <a:pt x="13939" y="4579"/>
                  </a:lnTo>
                  <a:lnTo>
                    <a:pt x="13063" y="4276"/>
                  </a:lnTo>
                  <a:lnTo>
                    <a:pt x="12154" y="4040"/>
                  </a:lnTo>
                  <a:lnTo>
                    <a:pt x="11279" y="3771"/>
                  </a:lnTo>
                  <a:lnTo>
                    <a:pt x="10370" y="3535"/>
                  </a:lnTo>
                  <a:lnTo>
                    <a:pt x="9393" y="3199"/>
                  </a:lnTo>
                  <a:lnTo>
                    <a:pt x="8417" y="2862"/>
                  </a:lnTo>
                  <a:lnTo>
                    <a:pt x="6464" y="2121"/>
                  </a:lnTo>
                  <a:lnTo>
                    <a:pt x="5555" y="1785"/>
                  </a:lnTo>
                  <a:lnTo>
                    <a:pt x="4680" y="1482"/>
                  </a:lnTo>
                  <a:lnTo>
                    <a:pt x="3771" y="1212"/>
                  </a:lnTo>
                  <a:lnTo>
                    <a:pt x="2828" y="977"/>
                  </a:lnTo>
                  <a:lnTo>
                    <a:pt x="2323" y="842"/>
                  </a:lnTo>
                  <a:lnTo>
                    <a:pt x="1818" y="707"/>
                  </a:lnTo>
                  <a:lnTo>
                    <a:pt x="1347" y="539"/>
                  </a:lnTo>
                  <a:lnTo>
                    <a:pt x="875" y="337"/>
                  </a:lnTo>
                  <a:lnTo>
                    <a:pt x="438" y="135"/>
                  </a:lnTo>
                  <a:lnTo>
                    <a:pt x="236" y="68"/>
                  </a:lnTo>
                  <a:lnTo>
                    <a:pt x="0"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778" name="Google Shape;1778;p12"/>
            <p:cNvSpPr/>
            <p:nvPr/>
          </p:nvSpPr>
          <p:spPr>
            <a:xfrm>
              <a:off x="211084" y="1586492"/>
              <a:ext cx="20153" cy="23536"/>
            </a:xfrm>
            <a:custGeom>
              <a:avLst/>
              <a:gdLst/>
              <a:ahLst/>
              <a:cxnLst/>
              <a:rect l="l" t="t" r="r" b="b"/>
              <a:pathLst>
                <a:path w="405" h="473" extrusionOk="0">
                  <a:moveTo>
                    <a:pt x="202" y="1"/>
                  </a:moveTo>
                  <a:lnTo>
                    <a:pt x="101" y="68"/>
                  </a:lnTo>
                  <a:lnTo>
                    <a:pt x="68" y="102"/>
                  </a:lnTo>
                  <a:lnTo>
                    <a:pt x="34" y="135"/>
                  </a:lnTo>
                  <a:lnTo>
                    <a:pt x="0" y="270"/>
                  </a:lnTo>
                  <a:lnTo>
                    <a:pt x="0" y="371"/>
                  </a:lnTo>
                  <a:lnTo>
                    <a:pt x="68" y="438"/>
                  </a:lnTo>
                  <a:lnTo>
                    <a:pt x="135" y="472"/>
                  </a:lnTo>
                  <a:lnTo>
                    <a:pt x="236" y="438"/>
                  </a:lnTo>
                  <a:lnTo>
                    <a:pt x="303" y="405"/>
                  </a:lnTo>
                  <a:lnTo>
                    <a:pt x="371" y="304"/>
                  </a:lnTo>
                  <a:lnTo>
                    <a:pt x="371" y="270"/>
                  </a:lnTo>
                  <a:lnTo>
                    <a:pt x="404" y="270"/>
                  </a:lnTo>
                  <a:lnTo>
                    <a:pt x="404" y="203"/>
                  </a:lnTo>
                  <a:lnTo>
                    <a:pt x="404" y="169"/>
                  </a:lnTo>
                  <a:lnTo>
                    <a:pt x="404" y="102"/>
                  </a:lnTo>
                  <a:lnTo>
                    <a:pt x="371" y="68"/>
                  </a:lnTo>
                  <a:lnTo>
                    <a:pt x="303"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779" name="Google Shape;1779;p12"/>
            <p:cNvSpPr/>
            <p:nvPr/>
          </p:nvSpPr>
          <p:spPr>
            <a:xfrm>
              <a:off x="3" y="1439053"/>
              <a:ext cx="830992" cy="1847937"/>
            </a:xfrm>
            <a:custGeom>
              <a:avLst/>
              <a:gdLst/>
              <a:ahLst/>
              <a:cxnLst/>
              <a:rect l="l" t="t" r="r" b="b"/>
              <a:pathLst>
                <a:path w="16700" h="37137" extrusionOk="0">
                  <a:moveTo>
                    <a:pt x="0" y="1"/>
                  </a:moveTo>
                  <a:lnTo>
                    <a:pt x="0" y="169"/>
                  </a:lnTo>
                  <a:lnTo>
                    <a:pt x="505" y="270"/>
                  </a:lnTo>
                  <a:lnTo>
                    <a:pt x="976" y="439"/>
                  </a:lnTo>
                  <a:lnTo>
                    <a:pt x="1953" y="809"/>
                  </a:lnTo>
                  <a:lnTo>
                    <a:pt x="2592" y="1011"/>
                  </a:lnTo>
                  <a:lnTo>
                    <a:pt x="3232" y="1179"/>
                  </a:lnTo>
                  <a:lnTo>
                    <a:pt x="3872" y="1348"/>
                  </a:lnTo>
                  <a:lnTo>
                    <a:pt x="4512" y="1550"/>
                  </a:lnTo>
                  <a:lnTo>
                    <a:pt x="7171" y="2358"/>
                  </a:lnTo>
                  <a:lnTo>
                    <a:pt x="8484" y="2795"/>
                  </a:lnTo>
                  <a:lnTo>
                    <a:pt x="9831" y="3233"/>
                  </a:lnTo>
                  <a:lnTo>
                    <a:pt x="12019" y="4007"/>
                  </a:lnTo>
                  <a:lnTo>
                    <a:pt x="14242" y="4815"/>
                  </a:lnTo>
                  <a:lnTo>
                    <a:pt x="14747" y="4984"/>
                  </a:lnTo>
                  <a:lnTo>
                    <a:pt x="15252" y="5186"/>
                  </a:lnTo>
                  <a:lnTo>
                    <a:pt x="15757" y="5455"/>
                  </a:lnTo>
                  <a:lnTo>
                    <a:pt x="15959" y="5623"/>
                  </a:lnTo>
                  <a:lnTo>
                    <a:pt x="16194" y="5792"/>
                  </a:lnTo>
                  <a:lnTo>
                    <a:pt x="16329" y="5960"/>
                  </a:lnTo>
                  <a:lnTo>
                    <a:pt x="16396" y="6162"/>
                  </a:lnTo>
                  <a:lnTo>
                    <a:pt x="16430" y="6431"/>
                  </a:lnTo>
                  <a:lnTo>
                    <a:pt x="16430" y="6768"/>
                  </a:lnTo>
                  <a:lnTo>
                    <a:pt x="16430" y="7105"/>
                  </a:lnTo>
                  <a:lnTo>
                    <a:pt x="16363" y="7475"/>
                  </a:lnTo>
                  <a:lnTo>
                    <a:pt x="16228" y="8283"/>
                  </a:lnTo>
                  <a:lnTo>
                    <a:pt x="16026" y="9091"/>
                  </a:lnTo>
                  <a:lnTo>
                    <a:pt x="15790" y="9798"/>
                  </a:lnTo>
                  <a:lnTo>
                    <a:pt x="15487" y="10808"/>
                  </a:lnTo>
                  <a:lnTo>
                    <a:pt x="15285" y="11448"/>
                  </a:lnTo>
                  <a:lnTo>
                    <a:pt x="15083" y="12054"/>
                  </a:lnTo>
                  <a:lnTo>
                    <a:pt x="14612" y="13333"/>
                  </a:lnTo>
                  <a:lnTo>
                    <a:pt x="14141" y="14613"/>
                  </a:lnTo>
                  <a:lnTo>
                    <a:pt x="13703" y="15892"/>
                  </a:lnTo>
                  <a:lnTo>
                    <a:pt x="13299" y="17172"/>
                  </a:lnTo>
                  <a:lnTo>
                    <a:pt x="12929" y="18485"/>
                  </a:lnTo>
                  <a:lnTo>
                    <a:pt x="12525" y="19831"/>
                  </a:lnTo>
                  <a:lnTo>
                    <a:pt x="12120" y="21144"/>
                  </a:lnTo>
                  <a:lnTo>
                    <a:pt x="11211" y="23838"/>
                  </a:lnTo>
                  <a:lnTo>
                    <a:pt x="9326" y="29124"/>
                  </a:lnTo>
                  <a:lnTo>
                    <a:pt x="7508" y="34376"/>
                  </a:lnTo>
                  <a:lnTo>
                    <a:pt x="7340" y="34982"/>
                  </a:lnTo>
                  <a:lnTo>
                    <a:pt x="7138" y="35655"/>
                  </a:lnTo>
                  <a:lnTo>
                    <a:pt x="7003" y="35992"/>
                  </a:lnTo>
                  <a:lnTo>
                    <a:pt x="6835" y="36261"/>
                  </a:lnTo>
                  <a:lnTo>
                    <a:pt x="6599" y="36497"/>
                  </a:lnTo>
                  <a:lnTo>
                    <a:pt x="6498" y="36598"/>
                  </a:lnTo>
                  <a:lnTo>
                    <a:pt x="6363" y="36699"/>
                  </a:lnTo>
                  <a:lnTo>
                    <a:pt x="6161" y="36800"/>
                  </a:lnTo>
                  <a:lnTo>
                    <a:pt x="5926" y="36834"/>
                  </a:lnTo>
                  <a:lnTo>
                    <a:pt x="5690" y="36867"/>
                  </a:lnTo>
                  <a:lnTo>
                    <a:pt x="5454" y="36834"/>
                  </a:lnTo>
                  <a:lnTo>
                    <a:pt x="4983" y="36733"/>
                  </a:lnTo>
                  <a:lnTo>
                    <a:pt x="4512" y="36598"/>
                  </a:lnTo>
                  <a:lnTo>
                    <a:pt x="4074" y="36430"/>
                  </a:lnTo>
                  <a:lnTo>
                    <a:pt x="3670" y="36228"/>
                  </a:lnTo>
                  <a:lnTo>
                    <a:pt x="2794" y="35824"/>
                  </a:lnTo>
                  <a:lnTo>
                    <a:pt x="2525" y="35689"/>
                  </a:lnTo>
                  <a:lnTo>
                    <a:pt x="2222" y="35588"/>
                  </a:lnTo>
                  <a:lnTo>
                    <a:pt x="1616" y="35386"/>
                  </a:lnTo>
                  <a:lnTo>
                    <a:pt x="1010" y="35218"/>
                  </a:lnTo>
                  <a:lnTo>
                    <a:pt x="404" y="35049"/>
                  </a:lnTo>
                  <a:lnTo>
                    <a:pt x="202" y="34948"/>
                  </a:lnTo>
                  <a:lnTo>
                    <a:pt x="0" y="34847"/>
                  </a:lnTo>
                  <a:lnTo>
                    <a:pt x="0" y="35184"/>
                  </a:lnTo>
                  <a:lnTo>
                    <a:pt x="505" y="35386"/>
                  </a:lnTo>
                  <a:lnTo>
                    <a:pt x="1044" y="35554"/>
                  </a:lnTo>
                  <a:lnTo>
                    <a:pt x="1650" y="35756"/>
                  </a:lnTo>
                  <a:lnTo>
                    <a:pt x="2222" y="35992"/>
                  </a:lnTo>
                  <a:lnTo>
                    <a:pt x="2828" y="36228"/>
                  </a:lnTo>
                  <a:lnTo>
                    <a:pt x="3400" y="36497"/>
                  </a:lnTo>
                  <a:lnTo>
                    <a:pt x="3804" y="36665"/>
                  </a:lnTo>
                  <a:lnTo>
                    <a:pt x="4209" y="36834"/>
                  </a:lnTo>
                  <a:lnTo>
                    <a:pt x="4613" y="36968"/>
                  </a:lnTo>
                  <a:lnTo>
                    <a:pt x="5050" y="37103"/>
                  </a:lnTo>
                  <a:lnTo>
                    <a:pt x="5387" y="37137"/>
                  </a:lnTo>
                  <a:lnTo>
                    <a:pt x="5690" y="37137"/>
                  </a:lnTo>
                  <a:lnTo>
                    <a:pt x="6027" y="37103"/>
                  </a:lnTo>
                  <a:lnTo>
                    <a:pt x="6330" y="37002"/>
                  </a:lnTo>
                  <a:lnTo>
                    <a:pt x="6599" y="36867"/>
                  </a:lnTo>
                  <a:lnTo>
                    <a:pt x="6835" y="36665"/>
                  </a:lnTo>
                  <a:lnTo>
                    <a:pt x="7037" y="36430"/>
                  </a:lnTo>
                  <a:lnTo>
                    <a:pt x="7205" y="36093"/>
                  </a:lnTo>
                  <a:lnTo>
                    <a:pt x="7710" y="34679"/>
                  </a:lnTo>
                  <a:lnTo>
                    <a:pt x="8181" y="33265"/>
                  </a:lnTo>
                  <a:lnTo>
                    <a:pt x="9158" y="30437"/>
                  </a:lnTo>
                  <a:lnTo>
                    <a:pt x="11178" y="24747"/>
                  </a:lnTo>
                  <a:lnTo>
                    <a:pt x="12154" y="21885"/>
                  </a:lnTo>
                  <a:lnTo>
                    <a:pt x="12592" y="20471"/>
                  </a:lnTo>
                  <a:lnTo>
                    <a:pt x="13030" y="19023"/>
                  </a:lnTo>
                  <a:lnTo>
                    <a:pt x="13838" y="16296"/>
                  </a:lnTo>
                  <a:lnTo>
                    <a:pt x="14275" y="14949"/>
                  </a:lnTo>
                  <a:lnTo>
                    <a:pt x="14747" y="13636"/>
                  </a:lnTo>
                  <a:lnTo>
                    <a:pt x="15252" y="12256"/>
                  </a:lnTo>
                  <a:lnTo>
                    <a:pt x="15723" y="10842"/>
                  </a:lnTo>
                  <a:lnTo>
                    <a:pt x="16060" y="9765"/>
                  </a:lnTo>
                  <a:lnTo>
                    <a:pt x="16329" y="8957"/>
                  </a:lnTo>
                  <a:lnTo>
                    <a:pt x="16531" y="8048"/>
                  </a:lnTo>
                  <a:lnTo>
                    <a:pt x="16632" y="7610"/>
                  </a:lnTo>
                  <a:lnTo>
                    <a:pt x="16666" y="7172"/>
                  </a:lnTo>
                  <a:lnTo>
                    <a:pt x="16699" y="6734"/>
                  </a:lnTo>
                  <a:lnTo>
                    <a:pt x="16666" y="6364"/>
                  </a:lnTo>
                  <a:lnTo>
                    <a:pt x="16598" y="5994"/>
                  </a:lnTo>
                  <a:lnTo>
                    <a:pt x="16464" y="5691"/>
                  </a:lnTo>
                  <a:lnTo>
                    <a:pt x="16363" y="5556"/>
                  </a:lnTo>
                  <a:lnTo>
                    <a:pt x="16262" y="5455"/>
                  </a:lnTo>
                  <a:lnTo>
                    <a:pt x="16127" y="5354"/>
                  </a:lnTo>
                  <a:lnTo>
                    <a:pt x="15992" y="5287"/>
                  </a:lnTo>
                  <a:lnTo>
                    <a:pt x="14982" y="4815"/>
                  </a:lnTo>
                  <a:lnTo>
                    <a:pt x="14477" y="4613"/>
                  </a:lnTo>
                  <a:lnTo>
                    <a:pt x="13972" y="4445"/>
                  </a:lnTo>
                  <a:lnTo>
                    <a:pt x="12659" y="3974"/>
                  </a:lnTo>
                  <a:lnTo>
                    <a:pt x="11346" y="3502"/>
                  </a:lnTo>
                  <a:lnTo>
                    <a:pt x="9831" y="2964"/>
                  </a:lnTo>
                  <a:lnTo>
                    <a:pt x="8316" y="2492"/>
                  </a:lnTo>
                  <a:lnTo>
                    <a:pt x="5286" y="1516"/>
                  </a:lnTo>
                  <a:lnTo>
                    <a:pt x="3737" y="1078"/>
                  </a:lnTo>
                  <a:lnTo>
                    <a:pt x="2188" y="641"/>
                  </a:lnTo>
                  <a:lnTo>
                    <a:pt x="1650" y="439"/>
                  </a:lnTo>
                  <a:lnTo>
                    <a:pt x="1111" y="237"/>
                  </a:lnTo>
                  <a:lnTo>
                    <a:pt x="842" y="136"/>
                  </a:lnTo>
                  <a:lnTo>
                    <a:pt x="572" y="68"/>
                  </a:lnTo>
                  <a:lnTo>
                    <a:pt x="303"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grpSp>
      <p:sp>
        <p:nvSpPr>
          <p:cNvPr id="1780" name="Google Shape;1780;p12"/>
          <p:cNvSpPr/>
          <p:nvPr/>
        </p:nvSpPr>
        <p:spPr>
          <a:xfrm>
            <a:off x="10093666" y="250119"/>
            <a:ext cx="1107989" cy="1130348"/>
          </a:xfrm>
          <a:custGeom>
            <a:avLst/>
            <a:gdLst/>
            <a:ahLst/>
            <a:cxnLst/>
            <a:rect l="l" t="t" r="r" b="b"/>
            <a:pathLst>
              <a:path w="16700" h="17037" extrusionOk="0">
                <a:moveTo>
                  <a:pt x="10471" y="169"/>
                </a:moveTo>
                <a:lnTo>
                  <a:pt x="10471" y="338"/>
                </a:lnTo>
                <a:lnTo>
                  <a:pt x="10538" y="472"/>
                </a:lnTo>
                <a:lnTo>
                  <a:pt x="10606" y="674"/>
                </a:lnTo>
                <a:lnTo>
                  <a:pt x="10336" y="775"/>
                </a:lnTo>
                <a:lnTo>
                  <a:pt x="10303" y="809"/>
                </a:lnTo>
                <a:lnTo>
                  <a:pt x="10202" y="641"/>
                </a:lnTo>
                <a:lnTo>
                  <a:pt x="10101" y="472"/>
                </a:lnTo>
                <a:lnTo>
                  <a:pt x="10269" y="338"/>
                </a:lnTo>
                <a:lnTo>
                  <a:pt x="10404" y="236"/>
                </a:lnTo>
                <a:lnTo>
                  <a:pt x="10471" y="169"/>
                </a:lnTo>
                <a:close/>
                <a:moveTo>
                  <a:pt x="10673" y="944"/>
                </a:moveTo>
                <a:lnTo>
                  <a:pt x="10673" y="1011"/>
                </a:lnTo>
                <a:lnTo>
                  <a:pt x="10707" y="1112"/>
                </a:lnTo>
                <a:lnTo>
                  <a:pt x="10774" y="1314"/>
                </a:lnTo>
                <a:lnTo>
                  <a:pt x="10673" y="1314"/>
                </a:lnTo>
                <a:lnTo>
                  <a:pt x="10336" y="1381"/>
                </a:lnTo>
                <a:lnTo>
                  <a:pt x="10303" y="1213"/>
                </a:lnTo>
                <a:lnTo>
                  <a:pt x="10269" y="1078"/>
                </a:lnTo>
                <a:lnTo>
                  <a:pt x="10404" y="1045"/>
                </a:lnTo>
                <a:lnTo>
                  <a:pt x="10673" y="944"/>
                </a:lnTo>
                <a:close/>
                <a:moveTo>
                  <a:pt x="10942" y="1516"/>
                </a:moveTo>
                <a:lnTo>
                  <a:pt x="11043" y="1617"/>
                </a:lnTo>
                <a:lnTo>
                  <a:pt x="11481" y="2055"/>
                </a:lnTo>
                <a:lnTo>
                  <a:pt x="11717" y="2290"/>
                </a:lnTo>
                <a:lnTo>
                  <a:pt x="11919" y="2526"/>
                </a:lnTo>
                <a:lnTo>
                  <a:pt x="11649" y="2627"/>
                </a:lnTo>
                <a:lnTo>
                  <a:pt x="11346" y="2694"/>
                </a:lnTo>
                <a:lnTo>
                  <a:pt x="10740" y="2829"/>
                </a:lnTo>
                <a:lnTo>
                  <a:pt x="10404" y="2896"/>
                </a:lnTo>
                <a:lnTo>
                  <a:pt x="10235" y="2930"/>
                </a:lnTo>
                <a:lnTo>
                  <a:pt x="10101" y="3031"/>
                </a:lnTo>
                <a:lnTo>
                  <a:pt x="10168" y="2425"/>
                </a:lnTo>
                <a:lnTo>
                  <a:pt x="10303" y="1819"/>
                </a:lnTo>
                <a:lnTo>
                  <a:pt x="10336" y="1583"/>
                </a:lnTo>
                <a:lnTo>
                  <a:pt x="10505" y="1550"/>
                </a:lnTo>
                <a:lnTo>
                  <a:pt x="10808" y="1516"/>
                </a:lnTo>
                <a:close/>
                <a:moveTo>
                  <a:pt x="12087" y="2728"/>
                </a:moveTo>
                <a:lnTo>
                  <a:pt x="12255" y="2964"/>
                </a:lnTo>
                <a:lnTo>
                  <a:pt x="11582" y="3199"/>
                </a:lnTo>
                <a:lnTo>
                  <a:pt x="10942" y="3368"/>
                </a:lnTo>
                <a:lnTo>
                  <a:pt x="10505" y="3502"/>
                </a:lnTo>
                <a:lnTo>
                  <a:pt x="10067" y="3637"/>
                </a:lnTo>
                <a:lnTo>
                  <a:pt x="10101" y="3199"/>
                </a:lnTo>
                <a:lnTo>
                  <a:pt x="10303" y="3166"/>
                </a:lnTo>
                <a:lnTo>
                  <a:pt x="10505" y="3132"/>
                </a:lnTo>
                <a:lnTo>
                  <a:pt x="10942" y="3031"/>
                </a:lnTo>
                <a:lnTo>
                  <a:pt x="11515" y="2896"/>
                </a:lnTo>
                <a:lnTo>
                  <a:pt x="11818" y="2829"/>
                </a:lnTo>
                <a:lnTo>
                  <a:pt x="12087" y="2728"/>
                </a:lnTo>
                <a:close/>
                <a:moveTo>
                  <a:pt x="12525" y="3098"/>
                </a:moveTo>
                <a:lnTo>
                  <a:pt x="12626" y="3671"/>
                </a:lnTo>
                <a:lnTo>
                  <a:pt x="12760" y="4243"/>
                </a:lnTo>
                <a:lnTo>
                  <a:pt x="13063" y="5320"/>
                </a:lnTo>
                <a:lnTo>
                  <a:pt x="13265" y="5994"/>
                </a:lnTo>
                <a:lnTo>
                  <a:pt x="13535" y="6633"/>
                </a:lnTo>
                <a:lnTo>
                  <a:pt x="13804" y="7273"/>
                </a:lnTo>
                <a:lnTo>
                  <a:pt x="14040" y="7913"/>
                </a:lnTo>
                <a:lnTo>
                  <a:pt x="14242" y="8519"/>
                </a:lnTo>
                <a:lnTo>
                  <a:pt x="14410" y="9159"/>
                </a:lnTo>
                <a:lnTo>
                  <a:pt x="14679" y="10404"/>
                </a:lnTo>
                <a:lnTo>
                  <a:pt x="14780" y="10876"/>
                </a:lnTo>
                <a:lnTo>
                  <a:pt x="14881" y="11347"/>
                </a:lnTo>
                <a:lnTo>
                  <a:pt x="15016" y="11818"/>
                </a:lnTo>
                <a:lnTo>
                  <a:pt x="15117" y="12020"/>
                </a:lnTo>
                <a:lnTo>
                  <a:pt x="15252" y="12222"/>
                </a:lnTo>
                <a:lnTo>
                  <a:pt x="14612" y="12458"/>
                </a:lnTo>
                <a:lnTo>
                  <a:pt x="13939" y="12660"/>
                </a:lnTo>
                <a:lnTo>
                  <a:pt x="13333" y="12828"/>
                </a:lnTo>
                <a:lnTo>
                  <a:pt x="12996" y="12929"/>
                </a:lnTo>
                <a:lnTo>
                  <a:pt x="12727" y="13030"/>
                </a:lnTo>
                <a:lnTo>
                  <a:pt x="12592" y="12458"/>
                </a:lnTo>
                <a:lnTo>
                  <a:pt x="12457" y="11919"/>
                </a:lnTo>
                <a:lnTo>
                  <a:pt x="12154" y="10808"/>
                </a:lnTo>
                <a:lnTo>
                  <a:pt x="11818" y="9563"/>
                </a:lnTo>
                <a:lnTo>
                  <a:pt x="11616" y="8923"/>
                </a:lnTo>
                <a:lnTo>
                  <a:pt x="11414" y="8317"/>
                </a:lnTo>
                <a:lnTo>
                  <a:pt x="11010" y="7239"/>
                </a:lnTo>
                <a:lnTo>
                  <a:pt x="10808" y="6667"/>
                </a:lnTo>
                <a:lnTo>
                  <a:pt x="10639" y="6128"/>
                </a:lnTo>
                <a:lnTo>
                  <a:pt x="10471" y="5590"/>
                </a:lnTo>
                <a:lnTo>
                  <a:pt x="10269" y="5051"/>
                </a:lnTo>
                <a:lnTo>
                  <a:pt x="10101" y="4479"/>
                </a:lnTo>
                <a:lnTo>
                  <a:pt x="9932" y="3940"/>
                </a:lnTo>
                <a:lnTo>
                  <a:pt x="9966" y="3906"/>
                </a:lnTo>
                <a:lnTo>
                  <a:pt x="10572" y="3704"/>
                </a:lnTo>
                <a:lnTo>
                  <a:pt x="11178" y="3536"/>
                </a:lnTo>
                <a:lnTo>
                  <a:pt x="11885" y="3368"/>
                </a:lnTo>
                <a:lnTo>
                  <a:pt x="12222" y="3233"/>
                </a:lnTo>
                <a:lnTo>
                  <a:pt x="12525" y="3098"/>
                </a:lnTo>
                <a:close/>
                <a:moveTo>
                  <a:pt x="15353" y="12492"/>
                </a:moveTo>
                <a:lnTo>
                  <a:pt x="15386" y="12761"/>
                </a:lnTo>
                <a:lnTo>
                  <a:pt x="15454" y="12997"/>
                </a:lnTo>
                <a:lnTo>
                  <a:pt x="15622" y="13535"/>
                </a:lnTo>
                <a:lnTo>
                  <a:pt x="15521" y="13502"/>
                </a:lnTo>
                <a:lnTo>
                  <a:pt x="15420" y="13502"/>
                </a:lnTo>
                <a:lnTo>
                  <a:pt x="15117" y="13535"/>
                </a:lnTo>
                <a:lnTo>
                  <a:pt x="14646" y="13670"/>
                </a:lnTo>
                <a:lnTo>
                  <a:pt x="13972" y="13872"/>
                </a:lnTo>
                <a:lnTo>
                  <a:pt x="13535" y="13973"/>
                </a:lnTo>
                <a:lnTo>
                  <a:pt x="13265" y="14040"/>
                </a:lnTo>
                <a:lnTo>
                  <a:pt x="13164" y="13805"/>
                </a:lnTo>
                <a:lnTo>
                  <a:pt x="13097" y="13569"/>
                </a:lnTo>
                <a:lnTo>
                  <a:pt x="12996" y="13367"/>
                </a:lnTo>
                <a:lnTo>
                  <a:pt x="12861" y="13199"/>
                </a:lnTo>
                <a:lnTo>
                  <a:pt x="13097" y="13165"/>
                </a:lnTo>
                <a:lnTo>
                  <a:pt x="13366" y="13098"/>
                </a:lnTo>
                <a:lnTo>
                  <a:pt x="13838" y="12963"/>
                </a:lnTo>
                <a:lnTo>
                  <a:pt x="14612" y="12727"/>
                </a:lnTo>
                <a:lnTo>
                  <a:pt x="15353" y="12492"/>
                </a:lnTo>
                <a:close/>
                <a:moveTo>
                  <a:pt x="337" y="11886"/>
                </a:moveTo>
                <a:lnTo>
                  <a:pt x="472" y="12155"/>
                </a:lnTo>
                <a:lnTo>
                  <a:pt x="674" y="12357"/>
                </a:lnTo>
                <a:lnTo>
                  <a:pt x="909" y="12593"/>
                </a:lnTo>
                <a:lnTo>
                  <a:pt x="1145" y="12727"/>
                </a:lnTo>
                <a:lnTo>
                  <a:pt x="1381" y="12828"/>
                </a:lnTo>
                <a:lnTo>
                  <a:pt x="1650" y="12896"/>
                </a:lnTo>
                <a:lnTo>
                  <a:pt x="1919" y="12929"/>
                </a:lnTo>
                <a:lnTo>
                  <a:pt x="2020" y="13333"/>
                </a:lnTo>
                <a:lnTo>
                  <a:pt x="2121" y="13805"/>
                </a:lnTo>
                <a:lnTo>
                  <a:pt x="2222" y="13939"/>
                </a:lnTo>
                <a:lnTo>
                  <a:pt x="2290" y="14074"/>
                </a:lnTo>
                <a:lnTo>
                  <a:pt x="2525" y="14276"/>
                </a:lnTo>
                <a:lnTo>
                  <a:pt x="2189" y="14175"/>
                </a:lnTo>
                <a:lnTo>
                  <a:pt x="1886" y="14040"/>
                </a:lnTo>
                <a:lnTo>
                  <a:pt x="1583" y="13906"/>
                </a:lnTo>
                <a:lnTo>
                  <a:pt x="1313" y="13704"/>
                </a:lnTo>
                <a:lnTo>
                  <a:pt x="1078" y="13468"/>
                </a:lnTo>
                <a:lnTo>
                  <a:pt x="876" y="13199"/>
                </a:lnTo>
                <a:lnTo>
                  <a:pt x="674" y="12929"/>
                </a:lnTo>
                <a:lnTo>
                  <a:pt x="539" y="12593"/>
                </a:lnTo>
                <a:lnTo>
                  <a:pt x="404" y="12256"/>
                </a:lnTo>
                <a:lnTo>
                  <a:pt x="337" y="11886"/>
                </a:lnTo>
                <a:close/>
                <a:moveTo>
                  <a:pt x="15285" y="13838"/>
                </a:moveTo>
                <a:lnTo>
                  <a:pt x="14545" y="14074"/>
                </a:lnTo>
                <a:lnTo>
                  <a:pt x="13972" y="14276"/>
                </a:lnTo>
                <a:lnTo>
                  <a:pt x="13669" y="14377"/>
                </a:lnTo>
                <a:lnTo>
                  <a:pt x="13400" y="14512"/>
                </a:lnTo>
                <a:lnTo>
                  <a:pt x="13400" y="14545"/>
                </a:lnTo>
                <a:lnTo>
                  <a:pt x="13400" y="14579"/>
                </a:lnTo>
                <a:lnTo>
                  <a:pt x="13669" y="14579"/>
                </a:lnTo>
                <a:lnTo>
                  <a:pt x="13939" y="14512"/>
                </a:lnTo>
                <a:lnTo>
                  <a:pt x="14444" y="14377"/>
                </a:lnTo>
                <a:lnTo>
                  <a:pt x="15117" y="14175"/>
                </a:lnTo>
                <a:lnTo>
                  <a:pt x="15757" y="13973"/>
                </a:lnTo>
                <a:lnTo>
                  <a:pt x="15790" y="14108"/>
                </a:lnTo>
                <a:lnTo>
                  <a:pt x="15184" y="14209"/>
                </a:lnTo>
                <a:lnTo>
                  <a:pt x="14578" y="14377"/>
                </a:lnTo>
                <a:lnTo>
                  <a:pt x="13972" y="14646"/>
                </a:lnTo>
                <a:lnTo>
                  <a:pt x="13703" y="14781"/>
                </a:lnTo>
                <a:lnTo>
                  <a:pt x="13467" y="14949"/>
                </a:lnTo>
                <a:lnTo>
                  <a:pt x="13400" y="14747"/>
                </a:lnTo>
                <a:lnTo>
                  <a:pt x="13299" y="14242"/>
                </a:lnTo>
                <a:lnTo>
                  <a:pt x="13669" y="14175"/>
                </a:lnTo>
                <a:lnTo>
                  <a:pt x="14073" y="14108"/>
                </a:lnTo>
                <a:lnTo>
                  <a:pt x="14814" y="13906"/>
                </a:lnTo>
                <a:lnTo>
                  <a:pt x="15285" y="13838"/>
                </a:lnTo>
                <a:close/>
                <a:moveTo>
                  <a:pt x="1145" y="3098"/>
                </a:moveTo>
                <a:lnTo>
                  <a:pt x="1684" y="3199"/>
                </a:lnTo>
                <a:lnTo>
                  <a:pt x="2189" y="3267"/>
                </a:lnTo>
                <a:lnTo>
                  <a:pt x="3232" y="3368"/>
                </a:lnTo>
                <a:lnTo>
                  <a:pt x="4276" y="3435"/>
                </a:lnTo>
                <a:lnTo>
                  <a:pt x="5320" y="3502"/>
                </a:lnTo>
                <a:lnTo>
                  <a:pt x="6397" y="3637"/>
                </a:lnTo>
                <a:lnTo>
                  <a:pt x="7508" y="3772"/>
                </a:lnTo>
                <a:lnTo>
                  <a:pt x="8619" y="3906"/>
                </a:lnTo>
                <a:lnTo>
                  <a:pt x="9730" y="3974"/>
                </a:lnTo>
                <a:lnTo>
                  <a:pt x="9831" y="4411"/>
                </a:lnTo>
                <a:lnTo>
                  <a:pt x="9932" y="4883"/>
                </a:lnTo>
                <a:lnTo>
                  <a:pt x="10269" y="5758"/>
                </a:lnTo>
                <a:lnTo>
                  <a:pt x="10639" y="6970"/>
                </a:lnTo>
                <a:lnTo>
                  <a:pt x="11077" y="8148"/>
                </a:lnTo>
                <a:lnTo>
                  <a:pt x="11346" y="8990"/>
                </a:lnTo>
                <a:lnTo>
                  <a:pt x="11616" y="9866"/>
                </a:lnTo>
                <a:lnTo>
                  <a:pt x="11582" y="9899"/>
                </a:lnTo>
                <a:lnTo>
                  <a:pt x="11649" y="10573"/>
                </a:lnTo>
                <a:lnTo>
                  <a:pt x="11616" y="11246"/>
                </a:lnTo>
                <a:lnTo>
                  <a:pt x="11548" y="11919"/>
                </a:lnTo>
                <a:lnTo>
                  <a:pt x="11447" y="12593"/>
                </a:lnTo>
                <a:lnTo>
                  <a:pt x="11178" y="13771"/>
                </a:lnTo>
                <a:lnTo>
                  <a:pt x="11111" y="14377"/>
                </a:lnTo>
                <a:lnTo>
                  <a:pt x="11077" y="14983"/>
                </a:lnTo>
                <a:lnTo>
                  <a:pt x="10538" y="15050"/>
                </a:lnTo>
                <a:lnTo>
                  <a:pt x="9495" y="15050"/>
                </a:lnTo>
                <a:lnTo>
                  <a:pt x="8956" y="14983"/>
                </a:lnTo>
                <a:lnTo>
                  <a:pt x="7878" y="14848"/>
                </a:lnTo>
                <a:lnTo>
                  <a:pt x="6835" y="14714"/>
                </a:lnTo>
                <a:lnTo>
                  <a:pt x="5892" y="14613"/>
                </a:lnTo>
                <a:lnTo>
                  <a:pt x="4949" y="14545"/>
                </a:lnTo>
                <a:lnTo>
                  <a:pt x="3064" y="14444"/>
                </a:lnTo>
                <a:lnTo>
                  <a:pt x="3064" y="14411"/>
                </a:lnTo>
                <a:lnTo>
                  <a:pt x="3064" y="14343"/>
                </a:lnTo>
                <a:lnTo>
                  <a:pt x="3030" y="14310"/>
                </a:lnTo>
                <a:lnTo>
                  <a:pt x="2997" y="14276"/>
                </a:lnTo>
                <a:lnTo>
                  <a:pt x="2795" y="14175"/>
                </a:lnTo>
                <a:lnTo>
                  <a:pt x="2593" y="14040"/>
                </a:lnTo>
                <a:lnTo>
                  <a:pt x="2458" y="13872"/>
                </a:lnTo>
                <a:lnTo>
                  <a:pt x="2323" y="13704"/>
                </a:lnTo>
                <a:lnTo>
                  <a:pt x="2256" y="13502"/>
                </a:lnTo>
                <a:lnTo>
                  <a:pt x="2189" y="13300"/>
                </a:lnTo>
                <a:lnTo>
                  <a:pt x="2189" y="13064"/>
                </a:lnTo>
                <a:lnTo>
                  <a:pt x="2189" y="12828"/>
                </a:lnTo>
                <a:lnTo>
                  <a:pt x="2155" y="12761"/>
                </a:lnTo>
                <a:lnTo>
                  <a:pt x="2088" y="12727"/>
                </a:lnTo>
                <a:lnTo>
                  <a:pt x="1852" y="12727"/>
                </a:lnTo>
                <a:lnTo>
                  <a:pt x="1650" y="12694"/>
                </a:lnTo>
                <a:lnTo>
                  <a:pt x="1448" y="12626"/>
                </a:lnTo>
                <a:lnTo>
                  <a:pt x="1246" y="12559"/>
                </a:lnTo>
                <a:lnTo>
                  <a:pt x="1078" y="12458"/>
                </a:lnTo>
                <a:lnTo>
                  <a:pt x="909" y="12357"/>
                </a:lnTo>
                <a:lnTo>
                  <a:pt x="573" y="12054"/>
                </a:lnTo>
                <a:lnTo>
                  <a:pt x="472" y="11886"/>
                </a:lnTo>
                <a:lnTo>
                  <a:pt x="303" y="11717"/>
                </a:lnTo>
                <a:lnTo>
                  <a:pt x="236" y="11111"/>
                </a:lnTo>
                <a:lnTo>
                  <a:pt x="269" y="10505"/>
                </a:lnTo>
                <a:lnTo>
                  <a:pt x="303" y="9899"/>
                </a:lnTo>
                <a:lnTo>
                  <a:pt x="370" y="9327"/>
                </a:lnTo>
                <a:lnTo>
                  <a:pt x="505" y="7778"/>
                </a:lnTo>
                <a:lnTo>
                  <a:pt x="674" y="6196"/>
                </a:lnTo>
                <a:lnTo>
                  <a:pt x="741" y="5421"/>
                </a:lnTo>
                <a:lnTo>
                  <a:pt x="842" y="4647"/>
                </a:lnTo>
                <a:lnTo>
                  <a:pt x="977" y="3873"/>
                </a:lnTo>
                <a:lnTo>
                  <a:pt x="1145" y="3098"/>
                </a:lnTo>
                <a:close/>
                <a:moveTo>
                  <a:pt x="15858" y="14377"/>
                </a:moveTo>
                <a:lnTo>
                  <a:pt x="15858" y="14444"/>
                </a:lnTo>
                <a:lnTo>
                  <a:pt x="15656" y="14478"/>
                </a:lnTo>
                <a:lnTo>
                  <a:pt x="15420" y="14545"/>
                </a:lnTo>
                <a:lnTo>
                  <a:pt x="15083" y="14646"/>
                </a:lnTo>
                <a:lnTo>
                  <a:pt x="14679" y="14747"/>
                </a:lnTo>
                <a:lnTo>
                  <a:pt x="14275" y="14916"/>
                </a:lnTo>
                <a:lnTo>
                  <a:pt x="13871" y="15084"/>
                </a:lnTo>
                <a:lnTo>
                  <a:pt x="13703" y="15185"/>
                </a:lnTo>
                <a:lnTo>
                  <a:pt x="13535" y="15320"/>
                </a:lnTo>
                <a:lnTo>
                  <a:pt x="13467" y="15017"/>
                </a:lnTo>
                <a:lnTo>
                  <a:pt x="13905" y="14916"/>
                </a:lnTo>
                <a:lnTo>
                  <a:pt x="14376" y="14781"/>
                </a:lnTo>
                <a:lnTo>
                  <a:pt x="14814" y="14646"/>
                </a:lnTo>
                <a:lnTo>
                  <a:pt x="15285" y="14512"/>
                </a:lnTo>
                <a:lnTo>
                  <a:pt x="15521" y="14444"/>
                </a:lnTo>
                <a:lnTo>
                  <a:pt x="15689" y="14411"/>
                </a:lnTo>
                <a:lnTo>
                  <a:pt x="15858" y="14377"/>
                </a:lnTo>
                <a:close/>
                <a:moveTo>
                  <a:pt x="15925" y="14747"/>
                </a:moveTo>
                <a:lnTo>
                  <a:pt x="15925" y="14815"/>
                </a:lnTo>
                <a:lnTo>
                  <a:pt x="14747" y="15151"/>
                </a:lnTo>
                <a:lnTo>
                  <a:pt x="14141" y="15387"/>
                </a:lnTo>
                <a:lnTo>
                  <a:pt x="13871" y="15522"/>
                </a:lnTo>
                <a:lnTo>
                  <a:pt x="13602" y="15656"/>
                </a:lnTo>
                <a:lnTo>
                  <a:pt x="13535" y="15421"/>
                </a:lnTo>
                <a:lnTo>
                  <a:pt x="13905" y="15320"/>
                </a:lnTo>
                <a:lnTo>
                  <a:pt x="14275" y="15219"/>
                </a:lnTo>
                <a:lnTo>
                  <a:pt x="14612" y="15084"/>
                </a:lnTo>
                <a:lnTo>
                  <a:pt x="14982" y="14949"/>
                </a:lnTo>
                <a:lnTo>
                  <a:pt x="15420" y="14882"/>
                </a:lnTo>
                <a:lnTo>
                  <a:pt x="15689" y="14815"/>
                </a:lnTo>
                <a:lnTo>
                  <a:pt x="15925" y="14747"/>
                </a:lnTo>
                <a:close/>
                <a:moveTo>
                  <a:pt x="15959" y="15050"/>
                </a:moveTo>
                <a:lnTo>
                  <a:pt x="15992" y="15185"/>
                </a:lnTo>
                <a:lnTo>
                  <a:pt x="15790" y="15219"/>
                </a:lnTo>
                <a:lnTo>
                  <a:pt x="15588" y="15252"/>
                </a:lnTo>
                <a:lnTo>
                  <a:pt x="15218" y="15387"/>
                </a:lnTo>
                <a:lnTo>
                  <a:pt x="14444" y="15690"/>
                </a:lnTo>
                <a:lnTo>
                  <a:pt x="14073" y="15858"/>
                </a:lnTo>
                <a:lnTo>
                  <a:pt x="13703" y="16060"/>
                </a:lnTo>
                <a:lnTo>
                  <a:pt x="13636" y="15791"/>
                </a:lnTo>
                <a:lnTo>
                  <a:pt x="13804" y="15757"/>
                </a:lnTo>
                <a:lnTo>
                  <a:pt x="13972" y="15724"/>
                </a:lnTo>
                <a:lnTo>
                  <a:pt x="14275" y="15623"/>
                </a:lnTo>
                <a:lnTo>
                  <a:pt x="14612" y="15488"/>
                </a:lnTo>
                <a:lnTo>
                  <a:pt x="14915" y="15387"/>
                </a:lnTo>
                <a:lnTo>
                  <a:pt x="15454" y="15252"/>
                </a:lnTo>
                <a:lnTo>
                  <a:pt x="15723" y="15151"/>
                </a:lnTo>
                <a:lnTo>
                  <a:pt x="15959" y="15050"/>
                </a:lnTo>
                <a:close/>
                <a:moveTo>
                  <a:pt x="16026" y="15421"/>
                </a:moveTo>
                <a:lnTo>
                  <a:pt x="16093" y="15623"/>
                </a:lnTo>
                <a:lnTo>
                  <a:pt x="15420" y="15858"/>
                </a:lnTo>
                <a:lnTo>
                  <a:pt x="14747" y="16027"/>
                </a:lnTo>
                <a:lnTo>
                  <a:pt x="14275" y="16195"/>
                </a:lnTo>
                <a:lnTo>
                  <a:pt x="14040" y="16262"/>
                </a:lnTo>
                <a:lnTo>
                  <a:pt x="13838" y="16397"/>
                </a:lnTo>
                <a:lnTo>
                  <a:pt x="13737" y="16128"/>
                </a:lnTo>
                <a:lnTo>
                  <a:pt x="14073" y="16060"/>
                </a:lnTo>
                <a:lnTo>
                  <a:pt x="14410" y="15959"/>
                </a:lnTo>
                <a:lnTo>
                  <a:pt x="14713" y="15825"/>
                </a:lnTo>
                <a:lnTo>
                  <a:pt x="15050" y="15690"/>
                </a:lnTo>
                <a:lnTo>
                  <a:pt x="16026" y="15421"/>
                </a:lnTo>
                <a:close/>
                <a:moveTo>
                  <a:pt x="16161" y="15825"/>
                </a:moveTo>
                <a:lnTo>
                  <a:pt x="16228" y="15993"/>
                </a:lnTo>
                <a:lnTo>
                  <a:pt x="15151" y="16330"/>
                </a:lnTo>
                <a:lnTo>
                  <a:pt x="14578" y="16532"/>
                </a:lnTo>
                <a:lnTo>
                  <a:pt x="14309" y="16667"/>
                </a:lnTo>
                <a:lnTo>
                  <a:pt x="14040" y="16835"/>
                </a:lnTo>
                <a:lnTo>
                  <a:pt x="13871" y="16532"/>
                </a:lnTo>
                <a:lnTo>
                  <a:pt x="14174" y="16465"/>
                </a:lnTo>
                <a:lnTo>
                  <a:pt x="14444" y="16397"/>
                </a:lnTo>
                <a:lnTo>
                  <a:pt x="14982" y="16229"/>
                </a:lnTo>
                <a:lnTo>
                  <a:pt x="15588" y="16060"/>
                </a:lnTo>
                <a:lnTo>
                  <a:pt x="16161" y="15825"/>
                </a:lnTo>
                <a:close/>
                <a:moveTo>
                  <a:pt x="10370" y="1"/>
                </a:moveTo>
                <a:lnTo>
                  <a:pt x="10303" y="68"/>
                </a:lnTo>
                <a:lnTo>
                  <a:pt x="10168" y="169"/>
                </a:lnTo>
                <a:lnTo>
                  <a:pt x="10033" y="304"/>
                </a:lnTo>
                <a:lnTo>
                  <a:pt x="10000" y="371"/>
                </a:lnTo>
                <a:lnTo>
                  <a:pt x="9966" y="472"/>
                </a:lnTo>
                <a:lnTo>
                  <a:pt x="10000" y="506"/>
                </a:lnTo>
                <a:lnTo>
                  <a:pt x="10033" y="607"/>
                </a:lnTo>
                <a:lnTo>
                  <a:pt x="10067" y="674"/>
                </a:lnTo>
                <a:lnTo>
                  <a:pt x="10134" y="876"/>
                </a:lnTo>
                <a:lnTo>
                  <a:pt x="10067" y="910"/>
                </a:lnTo>
                <a:lnTo>
                  <a:pt x="10033" y="977"/>
                </a:lnTo>
                <a:lnTo>
                  <a:pt x="10033" y="1045"/>
                </a:lnTo>
                <a:lnTo>
                  <a:pt x="10067" y="1078"/>
                </a:lnTo>
                <a:lnTo>
                  <a:pt x="10033" y="1449"/>
                </a:lnTo>
                <a:lnTo>
                  <a:pt x="10033" y="1651"/>
                </a:lnTo>
                <a:lnTo>
                  <a:pt x="10000" y="1886"/>
                </a:lnTo>
                <a:lnTo>
                  <a:pt x="9899" y="2324"/>
                </a:lnTo>
                <a:lnTo>
                  <a:pt x="9831" y="2661"/>
                </a:lnTo>
                <a:lnTo>
                  <a:pt x="9798" y="2997"/>
                </a:lnTo>
                <a:lnTo>
                  <a:pt x="9764" y="3334"/>
                </a:lnTo>
                <a:lnTo>
                  <a:pt x="9798" y="3671"/>
                </a:lnTo>
                <a:lnTo>
                  <a:pt x="9831" y="3772"/>
                </a:lnTo>
                <a:lnTo>
                  <a:pt x="9798" y="3772"/>
                </a:lnTo>
                <a:lnTo>
                  <a:pt x="7643" y="3536"/>
                </a:lnTo>
                <a:lnTo>
                  <a:pt x="5488" y="3368"/>
                </a:lnTo>
                <a:lnTo>
                  <a:pt x="3333" y="3166"/>
                </a:lnTo>
                <a:lnTo>
                  <a:pt x="1179" y="2964"/>
                </a:lnTo>
                <a:lnTo>
                  <a:pt x="1145" y="2930"/>
                </a:lnTo>
                <a:lnTo>
                  <a:pt x="1078" y="2930"/>
                </a:lnTo>
                <a:lnTo>
                  <a:pt x="1044" y="2964"/>
                </a:lnTo>
                <a:lnTo>
                  <a:pt x="1010" y="2997"/>
                </a:lnTo>
                <a:lnTo>
                  <a:pt x="1010" y="3031"/>
                </a:lnTo>
                <a:lnTo>
                  <a:pt x="876" y="3469"/>
                </a:lnTo>
                <a:lnTo>
                  <a:pt x="775" y="3906"/>
                </a:lnTo>
                <a:lnTo>
                  <a:pt x="674" y="4344"/>
                </a:lnTo>
                <a:lnTo>
                  <a:pt x="606" y="4782"/>
                </a:lnTo>
                <a:lnTo>
                  <a:pt x="539" y="5691"/>
                </a:lnTo>
                <a:lnTo>
                  <a:pt x="472" y="6566"/>
                </a:lnTo>
                <a:lnTo>
                  <a:pt x="370" y="7542"/>
                </a:lnTo>
                <a:lnTo>
                  <a:pt x="236" y="8519"/>
                </a:lnTo>
                <a:lnTo>
                  <a:pt x="101" y="9495"/>
                </a:lnTo>
                <a:lnTo>
                  <a:pt x="34" y="10472"/>
                </a:lnTo>
                <a:lnTo>
                  <a:pt x="0" y="10842"/>
                </a:lnTo>
                <a:lnTo>
                  <a:pt x="0" y="11246"/>
                </a:lnTo>
                <a:lnTo>
                  <a:pt x="34" y="11650"/>
                </a:lnTo>
                <a:lnTo>
                  <a:pt x="101" y="12054"/>
                </a:lnTo>
                <a:lnTo>
                  <a:pt x="168" y="12424"/>
                </a:lnTo>
                <a:lnTo>
                  <a:pt x="303" y="12795"/>
                </a:lnTo>
                <a:lnTo>
                  <a:pt x="505" y="13165"/>
                </a:lnTo>
                <a:lnTo>
                  <a:pt x="741" y="13468"/>
                </a:lnTo>
                <a:lnTo>
                  <a:pt x="909" y="13704"/>
                </a:lnTo>
                <a:lnTo>
                  <a:pt x="1145" y="13906"/>
                </a:lnTo>
                <a:lnTo>
                  <a:pt x="1381" y="14108"/>
                </a:lnTo>
                <a:lnTo>
                  <a:pt x="1650" y="14310"/>
                </a:lnTo>
                <a:lnTo>
                  <a:pt x="1953" y="14444"/>
                </a:lnTo>
                <a:lnTo>
                  <a:pt x="2256" y="14579"/>
                </a:lnTo>
                <a:lnTo>
                  <a:pt x="2559" y="14613"/>
                </a:lnTo>
                <a:lnTo>
                  <a:pt x="2828" y="14579"/>
                </a:lnTo>
                <a:lnTo>
                  <a:pt x="3333" y="14714"/>
                </a:lnTo>
                <a:lnTo>
                  <a:pt x="3838" y="14781"/>
                </a:lnTo>
                <a:lnTo>
                  <a:pt x="4310" y="14815"/>
                </a:lnTo>
                <a:lnTo>
                  <a:pt x="4848" y="14848"/>
                </a:lnTo>
                <a:lnTo>
                  <a:pt x="5858" y="14882"/>
                </a:lnTo>
                <a:lnTo>
                  <a:pt x="6835" y="14949"/>
                </a:lnTo>
                <a:lnTo>
                  <a:pt x="7912" y="15084"/>
                </a:lnTo>
                <a:lnTo>
                  <a:pt x="8956" y="15252"/>
                </a:lnTo>
                <a:lnTo>
                  <a:pt x="9495" y="15286"/>
                </a:lnTo>
                <a:lnTo>
                  <a:pt x="10033" y="15320"/>
                </a:lnTo>
                <a:lnTo>
                  <a:pt x="10572" y="15286"/>
                </a:lnTo>
                <a:lnTo>
                  <a:pt x="11111" y="15252"/>
                </a:lnTo>
                <a:lnTo>
                  <a:pt x="11245" y="15252"/>
                </a:lnTo>
                <a:lnTo>
                  <a:pt x="11279" y="15219"/>
                </a:lnTo>
                <a:lnTo>
                  <a:pt x="11313" y="15151"/>
                </a:lnTo>
                <a:lnTo>
                  <a:pt x="11313" y="14680"/>
                </a:lnTo>
                <a:lnTo>
                  <a:pt x="11380" y="14175"/>
                </a:lnTo>
                <a:lnTo>
                  <a:pt x="11616" y="13165"/>
                </a:lnTo>
                <a:lnTo>
                  <a:pt x="11818" y="12155"/>
                </a:lnTo>
                <a:lnTo>
                  <a:pt x="11919" y="11616"/>
                </a:lnTo>
                <a:lnTo>
                  <a:pt x="11919" y="11145"/>
                </a:lnTo>
                <a:lnTo>
                  <a:pt x="12222" y="12155"/>
                </a:lnTo>
                <a:lnTo>
                  <a:pt x="12356" y="12660"/>
                </a:lnTo>
                <a:lnTo>
                  <a:pt x="12491" y="13199"/>
                </a:lnTo>
                <a:lnTo>
                  <a:pt x="12525" y="13266"/>
                </a:lnTo>
                <a:lnTo>
                  <a:pt x="12626" y="13266"/>
                </a:lnTo>
                <a:lnTo>
                  <a:pt x="12693" y="13232"/>
                </a:lnTo>
                <a:lnTo>
                  <a:pt x="12727" y="13468"/>
                </a:lnTo>
                <a:lnTo>
                  <a:pt x="12828" y="13704"/>
                </a:lnTo>
                <a:lnTo>
                  <a:pt x="12996" y="14108"/>
                </a:lnTo>
                <a:lnTo>
                  <a:pt x="13131" y="14613"/>
                </a:lnTo>
                <a:lnTo>
                  <a:pt x="13265" y="15151"/>
                </a:lnTo>
                <a:lnTo>
                  <a:pt x="13333" y="15589"/>
                </a:lnTo>
                <a:lnTo>
                  <a:pt x="13467" y="16229"/>
                </a:lnTo>
                <a:lnTo>
                  <a:pt x="13568" y="16532"/>
                </a:lnTo>
                <a:lnTo>
                  <a:pt x="13669" y="16801"/>
                </a:lnTo>
                <a:lnTo>
                  <a:pt x="13737" y="16902"/>
                </a:lnTo>
                <a:lnTo>
                  <a:pt x="13804" y="16970"/>
                </a:lnTo>
                <a:lnTo>
                  <a:pt x="13905" y="17037"/>
                </a:lnTo>
                <a:lnTo>
                  <a:pt x="14040" y="17037"/>
                </a:lnTo>
                <a:lnTo>
                  <a:pt x="14107" y="16970"/>
                </a:lnTo>
                <a:lnTo>
                  <a:pt x="14376" y="16902"/>
                </a:lnTo>
                <a:lnTo>
                  <a:pt x="14679" y="16801"/>
                </a:lnTo>
                <a:lnTo>
                  <a:pt x="15218" y="16566"/>
                </a:lnTo>
                <a:lnTo>
                  <a:pt x="16262" y="16229"/>
                </a:lnTo>
                <a:lnTo>
                  <a:pt x="16295" y="16296"/>
                </a:lnTo>
                <a:lnTo>
                  <a:pt x="16329" y="16330"/>
                </a:lnTo>
                <a:lnTo>
                  <a:pt x="16430" y="16330"/>
                </a:lnTo>
                <a:lnTo>
                  <a:pt x="16497" y="16262"/>
                </a:lnTo>
                <a:lnTo>
                  <a:pt x="16497" y="16229"/>
                </a:lnTo>
                <a:lnTo>
                  <a:pt x="16531" y="16161"/>
                </a:lnTo>
                <a:lnTo>
                  <a:pt x="16497" y="16161"/>
                </a:lnTo>
                <a:lnTo>
                  <a:pt x="16598" y="16128"/>
                </a:lnTo>
                <a:lnTo>
                  <a:pt x="16666" y="16094"/>
                </a:lnTo>
                <a:lnTo>
                  <a:pt x="16666" y="16060"/>
                </a:lnTo>
                <a:lnTo>
                  <a:pt x="16699" y="15959"/>
                </a:lnTo>
                <a:lnTo>
                  <a:pt x="16632" y="15892"/>
                </a:lnTo>
                <a:lnTo>
                  <a:pt x="16531" y="15892"/>
                </a:lnTo>
                <a:lnTo>
                  <a:pt x="16464" y="15926"/>
                </a:lnTo>
                <a:lnTo>
                  <a:pt x="16396" y="15724"/>
                </a:lnTo>
                <a:lnTo>
                  <a:pt x="16464" y="15690"/>
                </a:lnTo>
                <a:lnTo>
                  <a:pt x="16430" y="15623"/>
                </a:lnTo>
                <a:lnTo>
                  <a:pt x="16396" y="15555"/>
                </a:lnTo>
                <a:lnTo>
                  <a:pt x="16363" y="15522"/>
                </a:lnTo>
                <a:lnTo>
                  <a:pt x="16262" y="15219"/>
                </a:lnTo>
                <a:lnTo>
                  <a:pt x="16161" y="14949"/>
                </a:lnTo>
                <a:lnTo>
                  <a:pt x="16127" y="14646"/>
                </a:lnTo>
                <a:lnTo>
                  <a:pt x="16026" y="14074"/>
                </a:lnTo>
                <a:lnTo>
                  <a:pt x="15959" y="13670"/>
                </a:lnTo>
                <a:lnTo>
                  <a:pt x="15824" y="13232"/>
                </a:lnTo>
                <a:lnTo>
                  <a:pt x="15656" y="12828"/>
                </a:lnTo>
                <a:lnTo>
                  <a:pt x="15454" y="12424"/>
                </a:lnTo>
                <a:lnTo>
                  <a:pt x="15521" y="12424"/>
                </a:lnTo>
                <a:lnTo>
                  <a:pt x="15588" y="12357"/>
                </a:lnTo>
                <a:lnTo>
                  <a:pt x="15588" y="12290"/>
                </a:lnTo>
                <a:lnTo>
                  <a:pt x="15555" y="12222"/>
                </a:lnTo>
                <a:lnTo>
                  <a:pt x="15487" y="12155"/>
                </a:lnTo>
                <a:lnTo>
                  <a:pt x="15487" y="12088"/>
                </a:lnTo>
                <a:lnTo>
                  <a:pt x="15353" y="11886"/>
                </a:lnTo>
                <a:lnTo>
                  <a:pt x="15218" y="11650"/>
                </a:lnTo>
                <a:lnTo>
                  <a:pt x="15151" y="11414"/>
                </a:lnTo>
                <a:lnTo>
                  <a:pt x="15083" y="11179"/>
                </a:lnTo>
                <a:lnTo>
                  <a:pt x="14982" y="10674"/>
                </a:lnTo>
                <a:lnTo>
                  <a:pt x="14881" y="10169"/>
                </a:lnTo>
                <a:lnTo>
                  <a:pt x="14612" y="8990"/>
                </a:lnTo>
                <a:lnTo>
                  <a:pt x="14477" y="8418"/>
                </a:lnTo>
                <a:lnTo>
                  <a:pt x="14309" y="7845"/>
                </a:lnTo>
                <a:lnTo>
                  <a:pt x="14073" y="7239"/>
                </a:lnTo>
                <a:lnTo>
                  <a:pt x="13838" y="6667"/>
                </a:lnTo>
                <a:lnTo>
                  <a:pt x="13568" y="6095"/>
                </a:lnTo>
                <a:lnTo>
                  <a:pt x="13366" y="5489"/>
                </a:lnTo>
                <a:lnTo>
                  <a:pt x="13164" y="4883"/>
                </a:lnTo>
                <a:lnTo>
                  <a:pt x="13030" y="4243"/>
                </a:lnTo>
                <a:lnTo>
                  <a:pt x="12861" y="3603"/>
                </a:lnTo>
                <a:lnTo>
                  <a:pt x="12693" y="2997"/>
                </a:lnTo>
                <a:lnTo>
                  <a:pt x="12693" y="2930"/>
                </a:lnTo>
                <a:lnTo>
                  <a:pt x="12693" y="2896"/>
                </a:lnTo>
                <a:lnTo>
                  <a:pt x="12659" y="2863"/>
                </a:lnTo>
                <a:lnTo>
                  <a:pt x="12626" y="2829"/>
                </a:lnTo>
                <a:lnTo>
                  <a:pt x="12558" y="2829"/>
                </a:lnTo>
                <a:lnTo>
                  <a:pt x="12525" y="2863"/>
                </a:lnTo>
                <a:lnTo>
                  <a:pt x="12457" y="2896"/>
                </a:lnTo>
                <a:lnTo>
                  <a:pt x="12323" y="2627"/>
                </a:lnTo>
                <a:lnTo>
                  <a:pt x="12154" y="2358"/>
                </a:lnTo>
                <a:lnTo>
                  <a:pt x="11952" y="2122"/>
                </a:lnTo>
                <a:lnTo>
                  <a:pt x="11717" y="1920"/>
                </a:lnTo>
                <a:lnTo>
                  <a:pt x="11447" y="1651"/>
                </a:lnTo>
                <a:lnTo>
                  <a:pt x="11212" y="1415"/>
                </a:lnTo>
                <a:lnTo>
                  <a:pt x="11010" y="1146"/>
                </a:lnTo>
                <a:lnTo>
                  <a:pt x="10909" y="977"/>
                </a:lnTo>
                <a:lnTo>
                  <a:pt x="10841" y="809"/>
                </a:lnTo>
                <a:lnTo>
                  <a:pt x="10841" y="742"/>
                </a:lnTo>
                <a:lnTo>
                  <a:pt x="10808" y="641"/>
                </a:lnTo>
                <a:lnTo>
                  <a:pt x="10707" y="439"/>
                </a:lnTo>
                <a:lnTo>
                  <a:pt x="10639" y="203"/>
                </a:lnTo>
                <a:lnTo>
                  <a:pt x="10606" y="102"/>
                </a:lnTo>
                <a:lnTo>
                  <a:pt x="10538" y="34"/>
                </a:lnTo>
                <a:lnTo>
                  <a:pt x="10505" y="1"/>
                </a:lnTo>
                <a:lnTo>
                  <a:pt x="10471" y="34"/>
                </a:lnTo>
                <a:lnTo>
                  <a:pt x="10437" y="1"/>
                </a:lnTo>
                <a:close/>
              </a:path>
            </a:pathLst>
          </a:custGeom>
          <a:solidFill>
            <a:schemeClr val="lt1"/>
          </a:solidFill>
          <a:ln>
            <a:noFill/>
          </a:ln>
        </p:spPr>
        <p:txBody>
          <a:bodyPr spcFirstLastPara="1" wrap="square" lIns="156033" tIns="156033" rIns="156033" bIns="156033" anchor="ctr" anchorCtr="0">
            <a:noAutofit/>
          </a:bodyPr>
          <a:lstStyle/>
          <a:p>
            <a:pPr marL="0" lvl="0" indent="0" algn="l" rtl="0">
              <a:spcBef>
                <a:spcPts val="0"/>
              </a:spcBef>
              <a:spcAft>
                <a:spcPts val="0"/>
              </a:spcAft>
              <a:buNone/>
            </a:pPr>
            <a:endParaRPr sz="2400"/>
          </a:p>
        </p:txBody>
      </p:sp>
      <p:grpSp>
        <p:nvGrpSpPr>
          <p:cNvPr id="1781" name="Google Shape;1781;p12"/>
          <p:cNvGrpSpPr/>
          <p:nvPr/>
        </p:nvGrpSpPr>
        <p:grpSpPr>
          <a:xfrm>
            <a:off x="1853917" y="-8"/>
            <a:ext cx="2137756" cy="540592"/>
            <a:chOff x="448987" y="-6"/>
            <a:chExt cx="1603317" cy="405444"/>
          </a:xfrm>
        </p:grpSpPr>
        <p:sp>
          <p:nvSpPr>
            <p:cNvPr id="1782" name="Google Shape;1782;p12"/>
            <p:cNvSpPr/>
            <p:nvPr/>
          </p:nvSpPr>
          <p:spPr>
            <a:xfrm>
              <a:off x="495861" y="65329"/>
              <a:ext cx="387083" cy="314981"/>
            </a:xfrm>
            <a:custGeom>
              <a:avLst/>
              <a:gdLst/>
              <a:ahLst/>
              <a:cxnLst/>
              <a:rect l="l" t="t" r="r" b="b"/>
              <a:pathLst>
                <a:path w="7779" h="6330" extrusionOk="0">
                  <a:moveTo>
                    <a:pt x="5893" y="168"/>
                  </a:moveTo>
                  <a:lnTo>
                    <a:pt x="6196" y="202"/>
                  </a:lnTo>
                  <a:lnTo>
                    <a:pt x="6532" y="269"/>
                  </a:lnTo>
                  <a:lnTo>
                    <a:pt x="6835" y="337"/>
                  </a:lnTo>
                  <a:lnTo>
                    <a:pt x="7105" y="438"/>
                  </a:lnTo>
                  <a:lnTo>
                    <a:pt x="7239" y="673"/>
                  </a:lnTo>
                  <a:lnTo>
                    <a:pt x="7340" y="909"/>
                  </a:lnTo>
                  <a:lnTo>
                    <a:pt x="5960" y="943"/>
                  </a:lnTo>
                  <a:lnTo>
                    <a:pt x="4613" y="976"/>
                  </a:lnTo>
                  <a:lnTo>
                    <a:pt x="2795" y="976"/>
                  </a:lnTo>
                  <a:lnTo>
                    <a:pt x="2189" y="1010"/>
                  </a:lnTo>
                  <a:lnTo>
                    <a:pt x="2189" y="1010"/>
                  </a:lnTo>
                  <a:lnTo>
                    <a:pt x="3368" y="606"/>
                  </a:lnTo>
                  <a:lnTo>
                    <a:pt x="4007" y="438"/>
                  </a:lnTo>
                  <a:lnTo>
                    <a:pt x="4647" y="303"/>
                  </a:lnTo>
                  <a:lnTo>
                    <a:pt x="5287" y="202"/>
                  </a:lnTo>
                  <a:lnTo>
                    <a:pt x="5590" y="168"/>
                  </a:lnTo>
                  <a:close/>
                  <a:moveTo>
                    <a:pt x="6768" y="1111"/>
                  </a:moveTo>
                  <a:lnTo>
                    <a:pt x="6027" y="1347"/>
                  </a:lnTo>
                  <a:lnTo>
                    <a:pt x="4984" y="1717"/>
                  </a:lnTo>
                  <a:lnTo>
                    <a:pt x="4445" y="1919"/>
                  </a:lnTo>
                  <a:lnTo>
                    <a:pt x="3940" y="2155"/>
                  </a:lnTo>
                  <a:lnTo>
                    <a:pt x="3637" y="2323"/>
                  </a:lnTo>
                  <a:lnTo>
                    <a:pt x="3334" y="2525"/>
                  </a:lnTo>
                  <a:lnTo>
                    <a:pt x="3065" y="2761"/>
                  </a:lnTo>
                  <a:lnTo>
                    <a:pt x="2795" y="2997"/>
                  </a:lnTo>
                  <a:lnTo>
                    <a:pt x="2762" y="2997"/>
                  </a:lnTo>
                  <a:lnTo>
                    <a:pt x="2459" y="3030"/>
                  </a:lnTo>
                  <a:lnTo>
                    <a:pt x="2155" y="3064"/>
                  </a:lnTo>
                  <a:lnTo>
                    <a:pt x="1516" y="3030"/>
                  </a:lnTo>
                  <a:lnTo>
                    <a:pt x="876" y="2997"/>
                  </a:lnTo>
                  <a:lnTo>
                    <a:pt x="539" y="3030"/>
                  </a:lnTo>
                  <a:lnTo>
                    <a:pt x="236" y="3098"/>
                  </a:lnTo>
                  <a:lnTo>
                    <a:pt x="236" y="2795"/>
                  </a:lnTo>
                  <a:lnTo>
                    <a:pt x="270" y="2424"/>
                  </a:lnTo>
                  <a:lnTo>
                    <a:pt x="337" y="2155"/>
                  </a:lnTo>
                  <a:lnTo>
                    <a:pt x="472" y="1885"/>
                  </a:lnTo>
                  <a:lnTo>
                    <a:pt x="640" y="1683"/>
                  </a:lnTo>
                  <a:lnTo>
                    <a:pt x="842" y="1515"/>
                  </a:lnTo>
                  <a:lnTo>
                    <a:pt x="1078" y="1380"/>
                  </a:lnTo>
                  <a:lnTo>
                    <a:pt x="1347" y="1246"/>
                  </a:lnTo>
                  <a:lnTo>
                    <a:pt x="1617" y="1145"/>
                  </a:lnTo>
                  <a:lnTo>
                    <a:pt x="2256" y="1212"/>
                  </a:lnTo>
                  <a:lnTo>
                    <a:pt x="4176" y="1212"/>
                  </a:lnTo>
                  <a:lnTo>
                    <a:pt x="5489" y="1145"/>
                  </a:lnTo>
                  <a:lnTo>
                    <a:pt x="6768" y="1111"/>
                  </a:lnTo>
                  <a:close/>
                  <a:moveTo>
                    <a:pt x="7441" y="1212"/>
                  </a:moveTo>
                  <a:lnTo>
                    <a:pt x="7509" y="1616"/>
                  </a:lnTo>
                  <a:lnTo>
                    <a:pt x="7509" y="2054"/>
                  </a:lnTo>
                  <a:lnTo>
                    <a:pt x="7475" y="2087"/>
                  </a:lnTo>
                  <a:lnTo>
                    <a:pt x="7307" y="2222"/>
                  </a:lnTo>
                  <a:lnTo>
                    <a:pt x="7105" y="2357"/>
                  </a:lnTo>
                  <a:lnTo>
                    <a:pt x="6869" y="2458"/>
                  </a:lnTo>
                  <a:lnTo>
                    <a:pt x="6600" y="2525"/>
                  </a:lnTo>
                  <a:lnTo>
                    <a:pt x="6061" y="2693"/>
                  </a:lnTo>
                  <a:lnTo>
                    <a:pt x="5623" y="2828"/>
                  </a:lnTo>
                  <a:lnTo>
                    <a:pt x="4748" y="3131"/>
                  </a:lnTo>
                  <a:lnTo>
                    <a:pt x="3906" y="3502"/>
                  </a:lnTo>
                  <a:lnTo>
                    <a:pt x="3570" y="3670"/>
                  </a:lnTo>
                  <a:lnTo>
                    <a:pt x="3300" y="3872"/>
                  </a:lnTo>
                  <a:lnTo>
                    <a:pt x="3031" y="4108"/>
                  </a:lnTo>
                  <a:lnTo>
                    <a:pt x="2829" y="4377"/>
                  </a:lnTo>
                  <a:lnTo>
                    <a:pt x="2694" y="4579"/>
                  </a:lnTo>
                  <a:lnTo>
                    <a:pt x="2627" y="4781"/>
                  </a:lnTo>
                  <a:lnTo>
                    <a:pt x="2492" y="5185"/>
                  </a:lnTo>
                  <a:lnTo>
                    <a:pt x="2425" y="5387"/>
                  </a:lnTo>
                  <a:lnTo>
                    <a:pt x="2358" y="5589"/>
                  </a:lnTo>
                  <a:lnTo>
                    <a:pt x="2223" y="5791"/>
                  </a:lnTo>
                  <a:lnTo>
                    <a:pt x="2088" y="5959"/>
                  </a:lnTo>
                  <a:lnTo>
                    <a:pt x="2054" y="6027"/>
                  </a:lnTo>
                  <a:lnTo>
                    <a:pt x="1751" y="5892"/>
                  </a:lnTo>
                  <a:lnTo>
                    <a:pt x="1415" y="5724"/>
                  </a:lnTo>
                  <a:lnTo>
                    <a:pt x="1145" y="5488"/>
                  </a:lnTo>
                  <a:lnTo>
                    <a:pt x="876" y="5185"/>
                  </a:lnTo>
                  <a:lnTo>
                    <a:pt x="741" y="4983"/>
                  </a:lnTo>
                  <a:lnTo>
                    <a:pt x="640" y="4747"/>
                  </a:lnTo>
                  <a:lnTo>
                    <a:pt x="438" y="4242"/>
                  </a:lnTo>
                  <a:lnTo>
                    <a:pt x="304" y="3737"/>
                  </a:lnTo>
                  <a:lnTo>
                    <a:pt x="270" y="3199"/>
                  </a:lnTo>
                  <a:lnTo>
                    <a:pt x="270" y="3199"/>
                  </a:lnTo>
                  <a:lnTo>
                    <a:pt x="573" y="3266"/>
                  </a:lnTo>
                  <a:lnTo>
                    <a:pt x="2021" y="3266"/>
                  </a:lnTo>
                  <a:lnTo>
                    <a:pt x="2560" y="3232"/>
                  </a:lnTo>
                  <a:lnTo>
                    <a:pt x="2155" y="3737"/>
                  </a:lnTo>
                  <a:lnTo>
                    <a:pt x="1751" y="4242"/>
                  </a:lnTo>
                  <a:lnTo>
                    <a:pt x="1011" y="5286"/>
                  </a:lnTo>
                  <a:lnTo>
                    <a:pt x="1011" y="5320"/>
                  </a:lnTo>
                  <a:lnTo>
                    <a:pt x="1044" y="5353"/>
                  </a:lnTo>
                  <a:lnTo>
                    <a:pt x="1112" y="5353"/>
                  </a:lnTo>
                  <a:lnTo>
                    <a:pt x="1280" y="5185"/>
                  </a:lnTo>
                  <a:lnTo>
                    <a:pt x="1448" y="5017"/>
                  </a:lnTo>
                  <a:lnTo>
                    <a:pt x="1751" y="4646"/>
                  </a:lnTo>
                  <a:lnTo>
                    <a:pt x="2324" y="3872"/>
                  </a:lnTo>
                  <a:lnTo>
                    <a:pt x="2694" y="3401"/>
                  </a:lnTo>
                  <a:lnTo>
                    <a:pt x="3098" y="2997"/>
                  </a:lnTo>
                  <a:lnTo>
                    <a:pt x="3536" y="2626"/>
                  </a:lnTo>
                  <a:lnTo>
                    <a:pt x="4041" y="2323"/>
                  </a:lnTo>
                  <a:lnTo>
                    <a:pt x="4445" y="2121"/>
                  </a:lnTo>
                  <a:lnTo>
                    <a:pt x="4849" y="1953"/>
                  </a:lnTo>
                  <a:lnTo>
                    <a:pt x="5724" y="1683"/>
                  </a:lnTo>
                  <a:lnTo>
                    <a:pt x="7441" y="1212"/>
                  </a:lnTo>
                  <a:close/>
                  <a:moveTo>
                    <a:pt x="7509" y="2390"/>
                  </a:moveTo>
                  <a:lnTo>
                    <a:pt x="7441" y="2795"/>
                  </a:lnTo>
                  <a:lnTo>
                    <a:pt x="7307" y="3199"/>
                  </a:lnTo>
                  <a:lnTo>
                    <a:pt x="7172" y="3603"/>
                  </a:lnTo>
                  <a:lnTo>
                    <a:pt x="6970" y="3973"/>
                  </a:lnTo>
                  <a:lnTo>
                    <a:pt x="6768" y="4310"/>
                  </a:lnTo>
                  <a:lnTo>
                    <a:pt x="6532" y="4646"/>
                  </a:lnTo>
                  <a:lnTo>
                    <a:pt x="6263" y="4916"/>
                  </a:lnTo>
                  <a:lnTo>
                    <a:pt x="5960" y="5151"/>
                  </a:lnTo>
                  <a:lnTo>
                    <a:pt x="5691" y="5320"/>
                  </a:lnTo>
                  <a:lnTo>
                    <a:pt x="5421" y="5454"/>
                  </a:lnTo>
                  <a:lnTo>
                    <a:pt x="4849" y="5656"/>
                  </a:lnTo>
                  <a:lnTo>
                    <a:pt x="4277" y="5825"/>
                  </a:lnTo>
                  <a:lnTo>
                    <a:pt x="3671" y="5959"/>
                  </a:lnTo>
                  <a:lnTo>
                    <a:pt x="3300" y="6027"/>
                  </a:lnTo>
                  <a:lnTo>
                    <a:pt x="2930" y="6060"/>
                  </a:lnTo>
                  <a:lnTo>
                    <a:pt x="2223" y="6060"/>
                  </a:lnTo>
                  <a:lnTo>
                    <a:pt x="2425" y="5825"/>
                  </a:lnTo>
                  <a:lnTo>
                    <a:pt x="2560" y="5589"/>
                  </a:lnTo>
                  <a:lnTo>
                    <a:pt x="2661" y="5320"/>
                  </a:lnTo>
                  <a:lnTo>
                    <a:pt x="2762" y="5050"/>
                  </a:lnTo>
                  <a:lnTo>
                    <a:pt x="2863" y="4781"/>
                  </a:lnTo>
                  <a:lnTo>
                    <a:pt x="2964" y="4545"/>
                  </a:lnTo>
                  <a:lnTo>
                    <a:pt x="3132" y="4343"/>
                  </a:lnTo>
                  <a:lnTo>
                    <a:pt x="3267" y="4141"/>
                  </a:lnTo>
                  <a:lnTo>
                    <a:pt x="3469" y="3973"/>
                  </a:lnTo>
                  <a:lnTo>
                    <a:pt x="3671" y="3838"/>
                  </a:lnTo>
                  <a:lnTo>
                    <a:pt x="4142" y="3569"/>
                  </a:lnTo>
                  <a:lnTo>
                    <a:pt x="4681" y="3333"/>
                  </a:lnTo>
                  <a:lnTo>
                    <a:pt x="5219" y="3165"/>
                  </a:lnTo>
                  <a:lnTo>
                    <a:pt x="6297" y="2828"/>
                  </a:lnTo>
                  <a:lnTo>
                    <a:pt x="6903" y="2660"/>
                  </a:lnTo>
                  <a:lnTo>
                    <a:pt x="7206" y="2525"/>
                  </a:lnTo>
                  <a:lnTo>
                    <a:pt x="7509" y="2390"/>
                  </a:lnTo>
                  <a:close/>
                  <a:moveTo>
                    <a:pt x="5219" y="0"/>
                  </a:moveTo>
                  <a:lnTo>
                    <a:pt x="4613" y="67"/>
                  </a:lnTo>
                  <a:lnTo>
                    <a:pt x="3738" y="269"/>
                  </a:lnTo>
                  <a:lnTo>
                    <a:pt x="2896" y="505"/>
                  </a:lnTo>
                  <a:lnTo>
                    <a:pt x="2054" y="774"/>
                  </a:lnTo>
                  <a:lnTo>
                    <a:pt x="1213" y="1077"/>
                  </a:lnTo>
                  <a:lnTo>
                    <a:pt x="910" y="1212"/>
                  </a:lnTo>
                  <a:lnTo>
                    <a:pt x="640" y="1380"/>
                  </a:lnTo>
                  <a:lnTo>
                    <a:pt x="438" y="1616"/>
                  </a:lnTo>
                  <a:lnTo>
                    <a:pt x="270" y="1852"/>
                  </a:lnTo>
                  <a:lnTo>
                    <a:pt x="135" y="2121"/>
                  </a:lnTo>
                  <a:lnTo>
                    <a:pt x="68" y="2424"/>
                  </a:lnTo>
                  <a:lnTo>
                    <a:pt x="1" y="2727"/>
                  </a:lnTo>
                  <a:lnTo>
                    <a:pt x="1" y="3030"/>
                  </a:lnTo>
                  <a:lnTo>
                    <a:pt x="34" y="3367"/>
                  </a:lnTo>
                  <a:lnTo>
                    <a:pt x="68" y="3704"/>
                  </a:lnTo>
                  <a:lnTo>
                    <a:pt x="135" y="4007"/>
                  </a:lnTo>
                  <a:lnTo>
                    <a:pt x="236" y="4343"/>
                  </a:lnTo>
                  <a:lnTo>
                    <a:pt x="371" y="4646"/>
                  </a:lnTo>
                  <a:lnTo>
                    <a:pt x="506" y="4949"/>
                  </a:lnTo>
                  <a:lnTo>
                    <a:pt x="640" y="5219"/>
                  </a:lnTo>
                  <a:lnTo>
                    <a:pt x="809" y="5454"/>
                  </a:lnTo>
                  <a:lnTo>
                    <a:pt x="1011" y="5724"/>
                  </a:lnTo>
                  <a:lnTo>
                    <a:pt x="1280" y="5926"/>
                  </a:lnTo>
                  <a:lnTo>
                    <a:pt x="1549" y="6094"/>
                  </a:lnTo>
                  <a:lnTo>
                    <a:pt x="1819" y="6229"/>
                  </a:lnTo>
                  <a:lnTo>
                    <a:pt x="2155" y="6296"/>
                  </a:lnTo>
                  <a:lnTo>
                    <a:pt x="2459" y="6330"/>
                  </a:lnTo>
                  <a:lnTo>
                    <a:pt x="2795" y="6330"/>
                  </a:lnTo>
                  <a:lnTo>
                    <a:pt x="3132" y="6296"/>
                  </a:lnTo>
                  <a:lnTo>
                    <a:pt x="3906" y="6195"/>
                  </a:lnTo>
                  <a:lnTo>
                    <a:pt x="4647" y="5993"/>
                  </a:lnTo>
                  <a:lnTo>
                    <a:pt x="5017" y="5892"/>
                  </a:lnTo>
                  <a:lnTo>
                    <a:pt x="5388" y="5724"/>
                  </a:lnTo>
                  <a:lnTo>
                    <a:pt x="5758" y="5555"/>
                  </a:lnTo>
                  <a:lnTo>
                    <a:pt x="6095" y="5387"/>
                  </a:lnTo>
                  <a:lnTo>
                    <a:pt x="6364" y="5185"/>
                  </a:lnTo>
                  <a:lnTo>
                    <a:pt x="6600" y="4949"/>
                  </a:lnTo>
                  <a:lnTo>
                    <a:pt x="6835" y="4680"/>
                  </a:lnTo>
                  <a:lnTo>
                    <a:pt x="7037" y="4411"/>
                  </a:lnTo>
                  <a:lnTo>
                    <a:pt x="7239" y="4074"/>
                  </a:lnTo>
                  <a:lnTo>
                    <a:pt x="7408" y="3771"/>
                  </a:lnTo>
                  <a:lnTo>
                    <a:pt x="7542" y="3401"/>
                  </a:lnTo>
                  <a:lnTo>
                    <a:pt x="7643" y="3064"/>
                  </a:lnTo>
                  <a:lnTo>
                    <a:pt x="7711" y="2693"/>
                  </a:lnTo>
                  <a:lnTo>
                    <a:pt x="7744" y="2323"/>
                  </a:lnTo>
                  <a:lnTo>
                    <a:pt x="7778" y="1953"/>
                  </a:lnTo>
                  <a:lnTo>
                    <a:pt x="7744" y="1582"/>
                  </a:lnTo>
                  <a:lnTo>
                    <a:pt x="7677" y="1246"/>
                  </a:lnTo>
                  <a:lnTo>
                    <a:pt x="7610" y="909"/>
                  </a:lnTo>
                  <a:lnTo>
                    <a:pt x="7475" y="572"/>
                  </a:lnTo>
                  <a:lnTo>
                    <a:pt x="7307" y="303"/>
                  </a:lnTo>
                  <a:lnTo>
                    <a:pt x="7273" y="236"/>
                  </a:lnTo>
                  <a:lnTo>
                    <a:pt x="7172" y="236"/>
                  </a:lnTo>
                  <a:lnTo>
                    <a:pt x="7105" y="269"/>
                  </a:lnTo>
                  <a:lnTo>
                    <a:pt x="6835" y="168"/>
                  </a:lnTo>
                  <a:lnTo>
                    <a:pt x="6499" y="67"/>
                  </a:lnTo>
                  <a:lnTo>
                    <a:pt x="6196" y="34"/>
                  </a:lnTo>
                  <a:lnTo>
                    <a:pt x="5859"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783" name="Google Shape;1783;p12"/>
            <p:cNvSpPr/>
            <p:nvPr/>
          </p:nvSpPr>
          <p:spPr>
            <a:xfrm>
              <a:off x="448987" y="-6"/>
              <a:ext cx="954944" cy="405444"/>
            </a:xfrm>
            <a:custGeom>
              <a:avLst/>
              <a:gdLst/>
              <a:ahLst/>
              <a:cxnLst/>
              <a:rect l="l" t="t" r="r" b="b"/>
              <a:pathLst>
                <a:path w="19191" h="8148" extrusionOk="0">
                  <a:moveTo>
                    <a:pt x="9528" y="2761"/>
                  </a:moveTo>
                  <a:lnTo>
                    <a:pt x="9663" y="2794"/>
                  </a:lnTo>
                  <a:lnTo>
                    <a:pt x="9932" y="2895"/>
                  </a:lnTo>
                  <a:lnTo>
                    <a:pt x="10100" y="3030"/>
                  </a:lnTo>
                  <a:lnTo>
                    <a:pt x="10235" y="3165"/>
                  </a:lnTo>
                  <a:lnTo>
                    <a:pt x="10336" y="3333"/>
                  </a:lnTo>
                  <a:lnTo>
                    <a:pt x="9730" y="3367"/>
                  </a:lnTo>
                  <a:lnTo>
                    <a:pt x="9461" y="3367"/>
                  </a:lnTo>
                  <a:lnTo>
                    <a:pt x="9158" y="3434"/>
                  </a:lnTo>
                  <a:lnTo>
                    <a:pt x="9191" y="3400"/>
                  </a:lnTo>
                  <a:lnTo>
                    <a:pt x="9259" y="2963"/>
                  </a:lnTo>
                  <a:lnTo>
                    <a:pt x="9292" y="2828"/>
                  </a:lnTo>
                  <a:lnTo>
                    <a:pt x="9393" y="2761"/>
                  </a:lnTo>
                  <a:close/>
                  <a:moveTo>
                    <a:pt x="18618" y="3973"/>
                  </a:moveTo>
                  <a:lnTo>
                    <a:pt x="18719" y="4006"/>
                  </a:lnTo>
                  <a:lnTo>
                    <a:pt x="18820" y="4074"/>
                  </a:lnTo>
                  <a:lnTo>
                    <a:pt x="18888" y="4141"/>
                  </a:lnTo>
                  <a:lnTo>
                    <a:pt x="18955" y="4209"/>
                  </a:lnTo>
                  <a:lnTo>
                    <a:pt x="18989" y="4310"/>
                  </a:lnTo>
                  <a:lnTo>
                    <a:pt x="18989" y="4444"/>
                  </a:lnTo>
                  <a:lnTo>
                    <a:pt x="18989" y="4545"/>
                  </a:lnTo>
                  <a:lnTo>
                    <a:pt x="18955" y="4646"/>
                  </a:lnTo>
                  <a:lnTo>
                    <a:pt x="18854" y="4781"/>
                  </a:lnTo>
                  <a:lnTo>
                    <a:pt x="18719" y="4848"/>
                  </a:lnTo>
                  <a:lnTo>
                    <a:pt x="18585" y="4916"/>
                  </a:lnTo>
                  <a:lnTo>
                    <a:pt x="18450" y="4949"/>
                  </a:lnTo>
                  <a:lnTo>
                    <a:pt x="18214" y="4916"/>
                  </a:lnTo>
                  <a:lnTo>
                    <a:pt x="18012" y="4916"/>
                  </a:lnTo>
                  <a:lnTo>
                    <a:pt x="18181" y="4680"/>
                  </a:lnTo>
                  <a:lnTo>
                    <a:pt x="18349" y="4478"/>
                  </a:lnTo>
                  <a:lnTo>
                    <a:pt x="18484" y="4209"/>
                  </a:lnTo>
                  <a:lnTo>
                    <a:pt x="18618" y="3973"/>
                  </a:lnTo>
                  <a:close/>
                  <a:moveTo>
                    <a:pt x="1650" y="7171"/>
                  </a:moveTo>
                  <a:lnTo>
                    <a:pt x="1885" y="7373"/>
                  </a:lnTo>
                  <a:lnTo>
                    <a:pt x="2121" y="7542"/>
                  </a:lnTo>
                  <a:lnTo>
                    <a:pt x="2390" y="7676"/>
                  </a:lnTo>
                  <a:lnTo>
                    <a:pt x="2660" y="7811"/>
                  </a:lnTo>
                  <a:lnTo>
                    <a:pt x="2491" y="7878"/>
                  </a:lnTo>
                  <a:lnTo>
                    <a:pt x="2289" y="7946"/>
                  </a:lnTo>
                  <a:lnTo>
                    <a:pt x="2087" y="7946"/>
                  </a:lnTo>
                  <a:lnTo>
                    <a:pt x="1852" y="7912"/>
                  </a:lnTo>
                  <a:lnTo>
                    <a:pt x="1683" y="7845"/>
                  </a:lnTo>
                  <a:lnTo>
                    <a:pt x="1582" y="7777"/>
                  </a:lnTo>
                  <a:lnTo>
                    <a:pt x="1549" y="7710"/>
                  </a:lnTo>
                  <a:lnTo>
                    <a:pt x="1515" y="7609"/>
                  </a:lnTo>
                  <a:lnTo>
                    <a:pt x="1549" y="7542"/>
                  </a:lnTo>
                  <a:lnTo>
                    <a:pt x="1582" y="7340"/>
                  </a:lnTo>
                  <a:lnTo>
                    <a:pt x="1650" y="7171"/>
                  </a:lnTo>
                  <a:close/>
                  <a:moveTo>
                    <a:pt x="9090" y="0"/>
                  </a:moveTo>
                  <a:lnTo>
                    <a:pt x="7845" y="370"/>
                  </a:lnTo>
                  <a:lnTo>
                    <a:pt x="7373" y="471"/>
                  </a:lnTo>
                  <a:lnTo>
                    <a:pt x="6902" y="606"/>
                  </a:lnTo>
                  <a:lnTo>
                    <a:pt x="6397" y="707"/>
                  </a:lnTo>
                  <a:lnTo>
                    <a:pt x="5926" y="808"/>
                  </a:lnTo>
                  <a:lnTo>
                    <a:pt x="5017" y="1077"/>
                  </a:lnTo>
                  <a:lnTo>
                    <a:pt x="4141" y="1380"/>
                  </a:lnTo>
                  <a:lnTo>
                    <a:pt x="2323" y="1953"/>
                  </a:lnTo>
                  <a:lnTo>
                    <a:pt x="1549" y="2155"/>
                  </a:lnTo>
                  <a:lnTo>
                    <a:pt x="774" y="2390"/>
                  </a:lnTo>
                  <a:lnTo>
                    <a:pt x="438" y="2491"/>
                  </a:lnTo>
                  <a:lnTo>
                    <a:pt x="269" y="2559"/>
                  </a:lnTo>
                  <a:lnTo>
                    <a:pt x="135" y="2626"/>
                  </a:lnTo>
                  <a:lnTo>
                    <a:pt x="34" y="2626"/>
                  </a:lnTo>
                  <a:lnTo>
                    <a:pt x="34" y="2660"/>
                  </a:lnTo>
                  <a:lnTo>
                    <a:pt x="0" y="2727"/>
                  </a:lnTo>
                  <a:lnTo>
                    <a:pt x="0" y="3266"/>
                  </a:lnTo>
                  <a:lnTo>
                    <a:pt x="67" y="3838"/>
                  </a:lnTo>
                  <a:lnTo>
                    <a:pt x="168" y="4377"/>
                  </a:lnTo>
                  <a:lnTo>
                    <a:pt x="303" y="4949"/>
                  </a:lnTo>
                  <a:lnTo>
                    <a:pt x="539" y="5488"/>
                  </a:lnTo>
                  <a:lnTo>
                    <a:pt x="774" y="5993"/>
                  </a:lnTo>
                  <a:lnTo>
                    <a:pt x="1077" y="6464"/>
                  </a:lnTo>
                  <a:lnTo>
                    <a:pt x="1414" y="6902"/>
                  </a:lnTo>
                  <a:lnTo>
                    <a:pt x="1549" y="7070"/>
                  </a:lnTo>
                  <a:lnTo>
                    <a:pt x="1549" y="7104"/>
                  </a:lnTo>
                  <a:lnTo>
                    <a:pt x="1414" y="7306"/>
                  </a:lnTo>
                  <a:lnTo>
                    <a:pt x="1347" y="7542"/>
                  </a:lnTo>
                  <a:lnTo>
                    <a:pt x="1347" y="7676"/>
                  </a:lnTo>
                  <a:lnTo>
                    <a:pt x="1347" y="7777"/>
                  </a:lnTo>
                  <a:lnTo>
                    <a:pt x="1414" y="7878"/>
                  </a:lnTo>
                  <a:lnTo>
                    <a:pt x="1515" y="7979"/>
                  </a:lnTo>
                  <a:lnTo>
                    <a:pt x="1650" y="8047"/>
                  </a:lnTo>
                  <a:lnTo>
                    <a:pt x="1784" y="8114"/>
                  </a:lnTo>
                  <a:lnTo>
                    <a:pt x="1919" y="8148"/>
                  </a:lnTo>
                  <a:lnTo>
                    <a:pt x="2424" y="8148"/>
                  </a:lnTo>
                  <a:lnTo>
                    <a:pt x="2693" y="8047"/>
                  </a:lnTo>
                  <a:lnTo>
                    <a:pt x="2794" y="7979"/>
                  </a:lnTo>
                  <a:lnTo>
                    <a:pt x="2895" y="7912"/>
                  </a:lnTo>
                  <a:lnTo>
                    <a:pt x="3165" y="7979"/>
                  </a:lnTo>
                  <a:lnTo>
                    <a:pt x="3468" y="8047"/>
                  </a:lnTo>
                  <a:lnTo>
                    <a:pt x="4040" y="8148"/>
                  </a:lnTo>
                  <a:lnTo>
                    <a:pt x="4646" y="8148"/>
                  </a:lnTo>
                  <a:lnTo>
                    <a:pt x="5252" y="8080"/>
                  </a:lnTo>
                  <a:lnTo>
                    <a:pt x="5757" y="7946"/>
                  </a:lnTo>
                  <a:lnTo>
                    <a:pt x="6262" y="7811"/>
                  </a:lnTo>
                  <a:lnTo>
                    <a:pt x="6734" y="7609"/>
                  </a:lnTo>
                  <a:lnTo>
                    <a:pt x="7205" y="7373"/>
                  </a:lnTo>
                  <a:lnTo>
                    <a:pt x="7643" y="7070"/>
                  </a:lnTo>
                  <a:lnTo>
                    <a:pt x="8013" y="6734"/>
                  </a:lnTo>
                  <a:lnTo>
                    <a:pt x="8181" y="6565"/>
                  </a:lnTo>
                  <a:lnTo>
                    <a:pt x="8350" y="6330"/>
                  </a:lnTo>
                  <a:lnTo>
                    <a:pt x="8451" y="6128"/>
                  </a:lnTo>
                  <a:lnTo>
                    <a:pt x="8585" y="5892"/>
                  </a:lnTo>
                  <a:lnTo>
                    <a:pt x="8787" y="5320"/>
                  </a:lnTo>
                  <a:lnTo>
                    <a:pt x="8922" y="4781"/>
                  </a:lnTo>
                  <a:lnTo>
                    <a:pt x="9023" y="4209"/>
                  </a:lnTo>
                  <a:lnTo>
                    <a:pt x="9124" y="3636"/>
                  </a:lnTo>
                  <a:lnTo>
                    <a:pt x="10370" y="3535"/>
                  </a:lnTo>
                  <a:lnTo>
                    <a:pt x="10403" y="3501"/>
                  </a:lnTo>
                  <a:lnTo>
                    <a:pt x="10504" y="3771"/>
                  </a:lnTo>
                  <a:lnTo>
                    <a:pt x="10605" y="4040"/>
                  </a:lnTo>
                  <a:lnTo>
                    <a:pt x="10706" y="4242"/>
                  </a:lnTo>
                  <a:lnTo>
                    <a:pt x="10841" y="4444"/>
                  </a:lnTo>
                  <a:lnTo>
                    <a:pt x="11144" y="4781"/>
                  </a:lnTo>
                  <a:lnTo>
                    <a:pt x="11481" y="5118"/>
                  </a:lnTo>
                  <a:lnTo>
                    <a:pt x="11885" y="5387"/>
                  </a:lnTo>
                  <a:lnTo>
                    <a:pt x="12323" y="5623"/>
                  </a:lnTo>
                  <a:lnTo>
                    <a:pt x="12794" y="5825"/>
                  </a:lnTo>
                  <a:lnTo>
                    <a:pt x="13232" y="5959"/>
                  </a:lnTo>
                  <a:lnTo>
                    <a:pt x="13669" y="6060"/>
                  </a:lnTo>
                  <a:lnTo>
                    <a:pt x="14073" y="6128"/>
                  </a:lnTo>
                  <a:lnTo>
                    <a:pt x="14511" y="6161"/>
                  </a:lnTo>
                  <a:lnTo>
                    <a:pt x="14915" y="6161"/>
                  </a:lnTo>
                  <a:lnTo>
                    <a:pt x="15319" y="6128"/>
                  </a:lnTo>
                  <a:lnTo>
                    <a:pt x="15723" y="6060"/>
                  </a:lnTo>
                  <a:lnTo>
                    <a:pt x="16127" y="5959"/>
                  </a:lnTo>
                  <a:lnTo>
                    <a:pt x="16497" y="5858"/>
                  </a:lnTo>
                  <a:lnTo>
                    <a:pt x="16901" y="5690"/>
                  </a:lnTo>
                  <a:lnTo>
                    <a:pt x="17171" y="5555"/>
                  </a:lnTo>
                  <a:lnTo>
                    <a:pt x="17440" y="5387"/>
                  </a:lnTo>
                  <a:lnTo>
                    <a:pt x="17676" y="5219"/>
                  </a:lnTo>
                  <a:lnTo>
                    <a:pt x="17911" y="5017"/>
                  </a:lnTo>
                  <a:lnTo>
                    <a:pt x="18046" y="5084"/>
                  </a:lnTo>
                  <a:lnTo>
                    <a:pt x="18214" y="5118"/>
                  </a:lnTo>
                  <a:lnTo>
                    <a:pt x="18517" y="5118"/>
                  </a:lnTo>
                  <a:lnTo>
                    <a:pt x="18719" y="5050"/>
                  </a:lnTo>
                  <a:lnTo>
                    <a:pt x="18888" y="4983"/>
                  </a:lnTo>
                  <a:lnTo>
                    <a:pt x="19022" y="4848"/>
                  </a:lnTo>
                  <a:lnTo>
                    <a:pt x="19123" y="4714"/>
                  </a:lnTo>
                  <a:lnTo>
                    <a:pt x="19191" y="4579"/>
                  </a:lnTo>
                  <a:lnTo>
                    <a:pt x="19191" y="4411"/>
                  </a:lnTo>
                  <a:lnTo>
                    <a:pt x="19157" y="4276"/>
                  </a:lnTo>
                  <a:lnTo>
                    <a:pt x="19123" y="4141"/>
                  </a:lnTo>
                  <a:lnTo>
                    <a:pt x="19056" y="4040"/>
                  </a:lnTo>
                  <a:lnTo>
                    <a:pt x="18921" y="3905"/>
                  </a:lnTo>
                  <a:lnTo>
                    <a:pt x="18820" y="3838"/>
                  </a:lnTo>
                  <a:lnTo>
                    <a:pt x="18686" y="3804"/>
                  </a:lnTo>
                  <a:lnTo>
                    <a:pt x="18787" y="3400"/>
                  </a:lnTo>
                  <a:lnTo>
                    <a:pt x="18888" y="2996"/>
                  </a:lnTo>
                  <a:lnTo>
                    <a:pt x="18989" y="2357"/>
                  </a:lnTo>
                  <a:lnTo>
                    <a:pt x="19022" y="1717"/>
                  </a:lnTo>
                  <a:lnTo>
                    <a:pt x="19056" y="1077"/>
                  </a:lnTo>
                  <a:lnTo>
                    <a:pt x="19022" y="438"/>
                  </a:lnTo>
                  <a:lnTo>
                    <a:pt x="19022" y="0"/>
                  </a:lnTo>
                  <a:lnTo>
                    <a:pt x="18753" y="0"/>
                  </a:lnTo>
                  <a:lnTo>
                    <a:pt x="18753" y="640"/>
                  </a:lnTo>
                  <a:lnTo>
                    <a:pt x="18787" y="1279"/>
                  </a:lnTo>
                  <a:lnTo>
                    <a:pt x="18753" y="1919"/>
                  </a:lnTo>
                  <a:lnTo>
                    <a:pt x="18686" y="2559"/>
                  </a:lnTo>
                  <a:lnTo>
                    <a:pt x="18585" y="3165"/>
                  </a:lnTo>
                  <a:lnTo>
                    <a:pt x="18551" y="3400"/>
                  </a:lnTo>
                  <a:lnTo>
                    <a:pt x="18450" y="3636"/>
                  </a:lnTo>
                  <a:lnTo>
                    <a:pt x="18282" y="4074"/>
                  </a:lnTo>
                  <a:lnTo>
                    <a:pt x="18012" y="4478"/>
                  </a:lnTo>
                  <a:lnTo>
                    <a:pt x="17709" y="4815"/>
                  </a:lnTo>
                  <a:lnTo>
                    <a:pt x="17339" y="5118"/>
                  </a:lnTo>
                  <a:lnTo>
                    <a:pt x="16969" y="5353"/>
                  </a:lnTo>
                  <a:lnTo>
                    <a:pt x="16531" y="5555"/>
                  </a:lnTo>
                  <a:lnTo>
                    <a:pt x="16060" y="5724"/>
                  </a:lnTo>
                  <a:lnTo>
                    <a:pt x="15656" y="5825"/>
                  </a:lnTo>
                  <a:lnTo>
                    <a:pt x="15252" y="5858"/>
                  </a:lnTo>
                  <a:lnTo>
                    <a:pt x="14848" y="5892"/>
                  </a:lnTo>
                  <a:lnTo>
                    <a:pt x="14444" y="5892"/>
                  </a:lnTo>
                  <a:lnTo>
                    <a:pt x="14040" y="5858"/>
                  </a:lnTo>
                  <a:lnTo>
                    <a:pt x="13636" y="5791"/>
                  </a:lnTo>
                  <a:lnTo>
                    <a:pt x="13265" y="5690"/>
                  </a:lnTo>
                  <a:lnTo>
                    <a:pt x="12861" y="5589"/>
                  </a:lnTo>
                  <a:lnTo>
                    <a:pt x="12592" y="5454"/>
                  </a:lnTo>
                  <a:lnTo>
                    <a:pt x="12289" y="5320"/>
                  </a:lnTo>
                  <a:lnTo>
                    <a:pt x="12020" y="5151"/>
                  </a:lnTo>
                  <a:lnTo>
                    <a:pt x="11750" y="4983"/>
                  </a:lnTo>
                  <a:lnTo>
                    <a:pt x="11481" y="4781"/>
                  </a:lnTo>
                  <a:lnTo>
                    <a:pt x="11245" y="4545"/>
                  </a:lnTo>
                  <a:lnTo>
                    <a:pt x="11043" y="4310"/>
                  </a:lnTo>
                  <a:lnTo>
                    <a:pt x="10875" y="4040"/>
                  </a:lnTo>
                  <a:lnTo>
                    <a:pt x="10706" y="3703"/>
                  </a:lnTo>
                  <a:lnTo>
                    <a:pt x="10572" y="3367"/>
                  </a:lnTo>
                  <a:lnTo>
                    <a:pt x="10403" y="3030"/>
                  </a:lnTo>
                  <a:lnTo>
                    <a:pt x="10302" y="2862"/>
                  </a:lnTo>
                  <a:lnTo>
                    <a:pt x="10168" y="2727"/>
                  </a:lnTo>
                  <a:lnTo>
                    <a:pt x="9999" y="2626"/>
                  </a:lnTo>
                  <a:lnTo>
                    <a:pt x="9764" y="2559"/>
                  </a:lnTo>
                  <a:lnTo>
                    <a:pt x="9528" y="2491"/>
                  </a:lnTo>
                  <a:lnTo>
                    <a:pt x="9326" y="2525"/>
                  </a:lnTo>
                  <a:lnTo>
                    <a:pt x="9191" y="2592"/>
                  </a:lnTo>
                  <a:lnTo>
                    <a:pt x="9124" y="2660"/>
                  </a:lnTo>
                  <a:lnTo>
                    <a:pt x="9057" y="2761"/>
                  </a:lnTo>
                  <a:lnTo>
                    <a:pt x="9023" y="2862"/>
                  </a:lnTo>
                  <a:lnTo>
                    <a:pt x="8956" y="3097"/>
                  </a:lnTo>
                  <a:lnTo>
                    <a:pt x="8922" y="3367"/>
                  </a:lnTo>
                  <a:lnTo>
                    <a:pt x="8720" y="4478"/>
                  </a:lnTo>
                  <a:lnTo>
                    <a:pt x="8585" y="5017"/>
                  </a:lnTo>
                  <a:lnTo>
                    <a:pt x="8417" y="5555"/>
                  </a:lnTo>
                  <a:lnTo>
                    <a:pt x="8316" y="5825"/>
                  </a:lnTo>
                  <a:lnTo>
                    <a:pt x="8181" y="6060"/>
                  </a:lnTo>
                  <a:lnTo>
                    <a:pt x="8047" y="6296"/>
                  </a:lnTo>
                  <a:lnTo>
                    <a:pt x="7878" y="6498"/>
                  </a:lnTo>
                  <a:lnTo>
                    <a:pt x="7676" y="6700"/>
                  </a:lnTo>
                  <a:lnTo>
                    <a:pt x="7474" y="6868"/>
                  </a:lnTo>
                  <a:lnTo>
                    <a:pt x="7239" y="7037"/>
                  </a:lnTo>
                  <a:lnTo>
                    <a:pt x="6969" y="7205"/>
                  </a:lnTo>
                  <a:lnTo>
                    <a:pt x="6363" y="7441"/>
                  </a:lnTo>
                  <a:lnTo>
                    <a:pt x="5757" y="7643"/>
                  </a:lnTo>
                  <a:lnTo>
                    <a:pt x="5151" y="7811"/>
                  </a:lnTo>
                  <a:lnTo>
                    <a:pt x="4545" y="7878"/>
                  </a:lnTo>
                  <a:lnTo>
                    <a:pt x="3939" y="7878"/>
                  </a:lnTo>
                  <a:lnTo>
                    <a:pt x="3636" y="7845"/>
                  </a:lnTo>
                  <a:lnTo>
                    <a:pt x="3333" y="7777"/>
                  </a:lnTo>
                  <a:lnTo>
                    <a:pt x="3030" y="7676"/>
                  </a:lnTo>
                  <a:lnTo>
                    <a:pt x="2727" y="7575"/>
                  </a:lnTo>
                  <a:lnTo>
                    <a:pt x="2424" y="7407"/>
                  </a:lnTo>
                  <a:lnTo>
                    <a:pt x="2155" y="7239"/>
                  </a:lnTo>
                  <a:lnTo>
                    <a:pt x="1919" y="7070"/>
                  </a:lnTo>
                  <a:lnTo>
                    <a:pt x="1683" y="6868"/>
                  </a:lnTo>
                  <a:lnTo>
                    <a:pt x="1481" y="6633"/>
                  </a:lnTo>
                  <a:lnTo>
                    <a:pt x="1279" y="6397"/>
                  </a:lnTo>
                  <a:lnTo>
                    <a:pt x="1077" y="6128"/>
                  </a:lnTo>
                  <a:lnTo>
                    <a:pt x="943" y="5858"/>
                  </a:lnTo>
                  <a:lnTo>
                    <a:pt x="640" y="5252"/>
                  </a:lnTo>
                  <a:lnTo>
                    <a:pt x="438" y="4613"/>
                  </a:lnTo>
                  <a:lnTo>
                    <a:pt x="303" y="4006"/>
                  </a:lnTo>
                  <a:lnTo>
                    <a:pt x="202" y="3367"/>
                  </a:lnTo>
                  <a:lnTo>
                    <a:pt x="202" y="2761"/>
                  </a:lnTo>
                  <a:lnTo>
                    <a:pt x="505" y="2626"/>
                  </a:lnTo>
                  <a:lnTo>
                    <a:pt x="808" y="2491"/>
                  </a:lnTo>
                  <a:lnTo>
                    <a:pt x="1515" y="2323"/>
                  </a:lnTo>
                  <a:lnTo>
                    <a:pt x="2188" y="2155"/>
                  </a:lnTo>
                  <a:lnTo>
                    <a:pt x="2862" y="1986"/>
                  </a:lnTo>
                  <a:lnTo>
                    <a:pt x="4545" y="1481"/>
                  </a:lnTo>
                  <a:lnTo>
                    <a:pt x="5387" y="1212"/>
                  </a:lnTo>
                  <a:lnTo>
                    <a:pt x="6229" y="943"/>
                  </a:lnTo>
                  <a:lnTo>
                    <a:pt x="7070" y="774"/>
                  </a:lnTo>
                  <a:lnTo>
                    <a:pt x="7912" y="572"/>
                  </a:lnTo>
                  <a:lnTo>
                    <a:pt x="8686" y="370"/>
                  </a:lnTo>
                  <a:lnTo>
                    <a:pt x="9090" y="269"/>
                  </a:lnTo>
                  <a:lnTo>
                    <a:pt x="9461" y="168"/>
                  </a:lnTo>
                  <a:lnTo>
                    <a:pt x="10201"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784" name="Google Shape;1784;p12"/>
            <p:cNvSpPr/>
            <p:nvPr/>
          </p:nvSpPr>
          <p:spPr>
            <a:xfrm>
              <a:off x="963306" y="-6"/>
              <a:ext cx="395393" cy="271441"/>
            </a:xfrm>
            <a:custGeom>
              <a:avLst/>
              <a:gdLst/>
              <a:ahLst/>
              <a:cxnLst/>
              <a:rect l="l" t="t" r="r" b="b"/>
              <a:pathLst>
                <a:path w="7946" h="5455" extrusionOk="0">
                  <a:moveTo>
                    <a:pt x="7373" y="1380"/>
                  </a:moveTo>
                  <a:lnTo>
                    <a:pt x="7609" y="2155"/>
                  </a:lnTo>
                  <a:lnTo>
                    <a:pt x="7676" y="2559"/>
                  </a:lnTo>
                  <a:lnTo>
                    <a:pt x="7710" y="2996"/>
                  </a:lnTo>
                  <a:lnTo>
                    <a:pt x="7710" y="3232"/>
                  </a:lnTo>
                  <a:lnTo>
                    <a:pt x="7676" y="3434"/>
                  </a:lnTo>
                  <a:lnTo>
                    <a:pt x="7643" y="3400"/>
                  </a:lnTo>
                  <a:lnTo>
                    <a:pt x="6700" y="2828"/>
                  </a:lnTo>
                  <a:lnTo>
                    <a:pt x="6229" y="2559"/>
                  </a:lnTo>
                  <a:lnTo>
                    <a:pt x="5757" y="2323"/>
                  </a:lnTo>
                  <a:lnTo>
                    <a:pt x="5387" y="2121"/>
                  </a:lnTo>
                  <a:lnTo>
                    <a:pt x="5185" y="2054"/>
                  </a:lnTo>
                  <a:lnTo>
                    <a:pt x="4983" y="1986"/>
                  </a:lnTo>
                  <a:lnTo>
                    <a:pt x="6195" y="1717"/>
                  </a:lnTo>
                  <a:lnTo>
                    <a:pt x="6801" y="1549"/>
                  </a:lnTo>
                  <a:lnTo>
                    <a:pt x="7373" y="1380"/>
                  </a:lnTo>
                  <a:close/>
                  <a:moveTo>
                    <a:pt x="4512" y="2087"/>
                  </a:moveTo>
                  <a:lnTo>
                    <a:pt x="5151" y="2323"/>
                  </a:lnTo>
                  <a:lnTo>
                    <a:pt x="5454" y="2424"/>
                  </a:lnTo>
                  <a:lnTo>
                    <a:pt x="5791" y="2559"/>
                  </a:lnTo>
                  <a:lnTo>
                    <a:pt x="6229" y="2794"/>
                  </a:lnTo>
                  <a:lnTo>
                    <a:pt x="6666" y="3064"/>
                  </a:lnTo>
                  <a:lnTo>
                    <a:pt x="7104" y="3333"/>
                  </a:lnTo>
                  <a:lnTo>
                    <a:pt x="7542" y="3602"/>
                  </a:lnTo>
                  <a:lnTo>
                    <a:pt x="7609" y="3602"/>
                  </a:lnTo>
                  <a:lnTo>
                    <a:pt x="7508" y="3838"/>
                  </a:lnTo>
                  <a:lnTo>
                    <a:pt x="7373" y="4040"/>
                  </a:lnTo>
                  <a:lnTo>
                    <a:pt x="7205" y="4242"/>
                  </a:lnTo>
                  <a:lnTo>
                    <a:pt x="7003" y="4411"/>
                  </a:lnTo>
                  <a:lnTo>
                    <a:pt x="6599" y="3939"/>
                  </a:lnTo>
                  <a:lnTo>
                    <a:pt x="6363" y="3703"/>
                  </a:lnTo>
                  <a:lnTo>
                    <a:pt x="6128" y="3468"/>
                  </a:lnTo>
                  <a:lnTo>
                    <a:pt x="5858" y="3266"/>
                  </a:lnTo>
                  <a:lnTo>
                    <a:pt x="5589" y="3097"/>
                  </a:lnTo>
                  <a:lnTo>
                    <a:pt x="5286" y="2963"/>
                  </a:lnTo>
                  <a:lnTo>
                    <a:pt x="4983" y="2929"/>
                  </a:lnTo>
                  <a:lnTo>
                    <a:pt x="4478" y="2895"/>
                  </a:lnTo>
                  <a:lnTo>
                    <a:pt x="3973" y="2929"/>
                  </a:lnTo>
                  <a:lnTo>
                    <a:pt x="2963" y="2996"/>
                  </a:lnTo>
                  <a:lnTo>
                    <a:pt x="1987" y="3097"/>
                  </a:lnTo>
                  <a:lnTo>
                    <a:pt x="976" y="3165"/>
                  </a:lnTo>
                  <a:lnTo>
                    <a:pt x="909" y="3198"/>
                  </a:lnTo>
                  <a:lnTo>
                    <a:pt x="909" y="3232"/>
                  </a:lnTo>
                  <a:lnTo>
                    <a:pt x="875" y="3165"/>
                  </a:lnTo>
                  <a:lnTo>
                    <a:pt x="741" y="2996"/>
                  </a:lnTo>
                  <a:lnTo>
                    <a:pt x="1145" y="2895"/>
                  </a:lnTo>
                  <a:lnTo>
                    <a:pt x="1549" y="2794"/>
                  </a:lnTo>
                  <a:lnTo>
                    <a:pt x="2357" y="2592"/>
                  </a:lnTo>
                  <a:lnTo>
                    <a:pt x="3973" y="2222"/>
                  </a:lnTo>
                  <a:lnTo>
                    <a:pt x="4512" y="2087"/>
                  </a:lnTo>
                  <a:close/>
                  <a:moveTo>
                    <a:pt x="4646" y="3131"/>
                  </a:moveTo>
                  <a:lnTo>
                    <a:pt x="4882" y="3165"/>
                  </a:lnTo>
                  <a:lnTo>
                    <a:pt x="5084" y="3198"/>
                  </a:lnTo>
                  <a:lnTo>
                    <a:pt x="5320" y="3232"/>
                  </a:lnTo>
                  <a:lnTo>
                    <a:pt x="5522" y="3333"/>
                  </a:lnTo>
                  <a:lnTo>
                    <a:pt x="5757" y="3434"/>
                  </a:lnTo>
                  <a:lnTo>
                    <a:pt x="5959" y="3602"/>
                  </a:lnTo>
                  <a:lnTo>
                    <a:pt x="6195" y="3804"/>
                  </a:lnTo>
                  <a:lnTo>
                    <a:pt x="6397" y="4040"/>
                  </a:lnTo>
                  <a:lnTo>
                    <a:pt x="6835" y="4545"/>
                  </a:lnTo>
                  <a:lnTo>
                    <a:pt x="6532" y="4680"/>
                  </a:lnTo>
                  <a:lnTo>
                    <a:pt x="6195" y="4815"/>
                  </a:lnTo>
                  <a:lnTo>
                    <a:pt x="5825" y="4916"/>
                  </a:lnTo>
                  <a:lnTo>
                    <a:pt x="5454" y="5017"/>
                  </a:lnTo>
                  <a:lnTo>
                    <a:pt x="4714" y="5118"/>
                  </a:lnTo>
                  <a:lnTo>
                    <a:pt x="4040" y="5185"/>
                  </a:lnTo>
                  <a:lnTo>
                    <a:pt x="3468" y="5219"/>
                  </a:lnTo>
                  <a:lnTo>
                    <a:pt x="3199" y="5185"/>
                  </a:lnTo>
                  <a:lnTo>
                    <a:pt x="2929" y="5151"/>
                  </a:lnTo>
                  <a:lnTo>
                    <a:pt x="2660" y="5084"/>
                  </a:lnTo>
                  <a:lnTo>
                    <a:pt x="2424" y="4983"/>
                  </a:lnTo>
                  <a:lnTo>
                    <a:pt x="2189" y="4848"/>
                  </a:lnTo>
                  <a:lnTo>
                    <a:pt x="1953" y="4680"/>
                  </a:lnTo>
                  <a:lnTo>
                    <a:pt x="1650" y="4377"/>
                  </a:lnTo>
                  <a:lnTo>
                    <a:pt x="1414" y="4040"/>
                  </a:lnTo>
                  <a:lnTo>
                    <a:pt x="943" y="3299"/>
                  </a:lnTo>
                  <a:lnTo>
                    <a:pt x="943" y="3299"/>
                  </a:lnTo>
                  <a:lnTo>
                    <a:pt x="976" y="3333"/>
                  </a:lnTo>
                  <a:lnTo>
                    <a:pt x="1785" y="3333"/>
                  </a:lnTo>
                  <a:lnTo>
                    <a:pt x="2559" y="3299"/>
                  </a:lnTo>
                  <a:lnTo>
                    <a:pt x="3367" y="3198"/>
                  </a:lnTo>
                  <a:lnTo>
                    <a:pt x="4141" y="3131"/>
                  </a:lnTo>
                  <a:close/>
                  <a:moveTo>
                    <a:pt x="1583" y="0"/>
                  </a:moveTo>
                  <a:lnTo>
                    <a:pt x="1313" y="101"/>
                  </a:lnTo>
                  <a:lnTo>
                    <a:pt x="1010" y="236"/>
                  </a:lnTo>
                  <a:lnTo>
                    <a:pt x="774" y="404"/>
                  </a:lnTo>
                  <a:lnTo>
                    <a:pt x="572" y="539"/>
                  </a:lnTo>
                  <a:lnTo>
                    <a:pt x="370" y="707"/>
                  </a:lnTo>
                  <a:lnTo>
                    <a:pt x="202" y="909"/>
                  </a:lnTo>
                  <a:lnTo>
                    <a:pt x="101" y="1111"/>
                  </a:lnTo>
                  <a:lnTo>
                    <a:pt x="0" y="1347"/>
                  </a:lnTo>
                  <a:lnTo>
                    <a:pt x="0" y="1582"/>
                  </a:lnTo>
                  <a:lnTo>
                    <a:pt x="0" y="1818"/>
                  </a:lnTo>
                  <a:lnTo>
                    <a:pt x="34" y="2054"/>
                  </a:lnTo>
                  <a:lnTo>
                    <a:pt x="135" y="2323"/>
                  </a:lnTo>
                  <a:lnTo>
                    <a:pt x="370" y="2828"/>
                  </a:lnTo>
                  <a:lnTo>
                    <a:pt x="673" y="3367"/>
                  </a:lnTo>
                  <a:lnTo>
                    <a:pt x="976" y="3838"/>
                  </a:lnTo>
                  <a:lnTo>
                    <a:pt x="1313" y="4310"/>
                  </a:lnTo>
                  <a:lnTo>
                    <a:pt x="1616" y="4714"/>
                  </a:lnTo>
                  <a:lnTo>
                    <a:pt x="1818" y="4882"/>
                  </a:lnTo>
                  <a:lnTo>
                    <a:pt x="2020" y="5017"/>
                  </a:lnTo>
                  <a:lnTo>
                    <a:pt x="2222" y="5151"/>
                  </a:lnTo>
                  <a:lnTo>
                    <a:pt x="2424" y="5286"/>
                  </a:lnTo>
                  <a:lnTo>
                    <a:pt x="2660" y="5353"/>
                  </a:lnTo>
                  <a:lnTo>
                    <a:pt x="2929" y="5421"/>
                  </a:lnTo>
                  <a:lnTo>
                    <a:pt x="3300" y="5454"/>
                  </a:lnTo>
                  <a:lnTo>
                    <a:pt x="3670" y="5454"/>
                  </a:lnTo>
                  <a:lnTo>
                    <a:pt x="4040" y="5421"/>
                  </a:lnTo>
                  <a:lnTo>
                    <a:pt x="4444" y="5387"/>
                  </a:lnTo>
                  <a:lnTo>
                    <a:pt x="5185" y="5286"/>
                  </a:lnTo>
                  <a:lnTo>
                    <a:pt x="5926" y="5118"/>
                  </a:lnTo>
                  <a:lnTo>
                    <a:pt x="6229" y="5050"/>
                  </a:lnTo>
                  <a:lnTo>
                    <a:pt x="6498" y="4949"/>
                  </a:lnTo>
                  <a:lnTo>
                    <a:pt x="6767" y="4848"/>
                  </a:lnTo>
                  <a:lnTo>
                    <a:pt x="7003" y="4714"/>
                  </a:lnTo>
                  <a:lnTo>
                    <a:pt x="7205" y="4579"/>
                  </a:lnTo>
                  <a:lnTo>
                    <a:pt x="7407" y="4377"/>
                  </a:lnTo>
                  <a:lnTo>
                    <a:pt x="7609" y="4175"/>
                  </a:lnTo>
                  <a:lnTo>
                    <a:pt x="7744" y="3905"/>
                  </a:lnTo>
                  <a:lnTo>
                    <a:pt x="7878" y="3636"/>
                  </a:lnTo>
                  <a:lnTo>
                    <a:pt x="7946" y="3367"/>
                  </a:lnTo>
                  <a:lnTo>
                    <a:pt x="7946" y="3064"/>
                  </a:lnTo>
                  <a:lnTo>
                    <a:pt x="7946" y="2794"/>
                  </a:lnTo>
                  <a:lnTo>
                    <a:pt x="7946" y="2525"/>
                  </a:lnTo>
                  <a:lnTo>
                    <a:pt x="7878" y="2222"/>
                  </a:lnTo>
                  <a:lnTo>
                    <a:pt x="7777" y="1683"/>
                  </a:lnTo>
                  <a:lnTo>
                    <a:pt x="7542" y="842"/>
                  </a:lnTo>
                  <a:lnTo>
                    <a:pt x="7272" y="0"/>
                  </a:lnTo>
                  <a:lnTo>
                    <a:pt x="6936" y="0"/>
                  </a:lnTo>
                  <a:lnTo>
                    <a:pt x="7104" y="404"/>
                  </a:lnTo>
                  <a:lnTo>
                    <a:pt x="7239" y="875"/>
                  </a:lnTo>
                  <a:lnTo>
                    <a:pt x="7306" y="1145"/>
                  </a:lnTo>
                  <a:lnTo>
                    <a:pt x="6498" y="1380"/>
                  </a:lnTo>
                  <a:lnTo>
                    <a:pt x="5623" y="1616"/>
                  </a:lnTo>
                  <a:lnTo>
                    <a:pt x="3939" y="2020"/>
                  </a:lnTo>
                  <a:lnTo>
                    <a:pt x="3131" y="2188"/>
                  </a:lnTo>
                  <a:lnTo>
                    <a:pt x="2256" y="2323"/>
                  </a:lnTo>
                  <a:lnTo>
                    <a:pt x="1852" y="2424"/>
                  </a:lnTo>
                  <a:lnTo>
                    <a:pt x="1448" y="2559"/>
                  </a:lnTo>
                  <a:lnTo>
                    <a:pt x="1044" y="2693"/>
                  </a:lnTo>
                  <a:lnTo>
                    <a:pt x="707" y="2895"/>
                  </a:lnTo>
                  <a:lnTo>
                    <a:pt x="505" y="2592"/>
                  </a:lnTo>
                  <a:lnTo>
                    <a:pt x="370" y="2289"/>
                  </a:lnTo>
                  <a:lnTo>
                    <a:pt x="269" y="1986"/>
                  </a:lnTo>
                  <a:lnTo>
                    <a:pt x="202" y="1650"/>
                  </a:lnTo>
                  <a:lnTo>
                    <a:pt x="370" y="1683"/>
                  </a:lnTo>
                  <a:lnTo>
                    <a:pt x="741" y="1683"/>
                  </a:lnTo>
                  <a:lnTo>
                    <a:pt x="909" y="1616"/>
                  </a:lnTo>
                  <a:lnTo>
                    <a:pt x="1280" y="1481"/>
                  </a:lnTo>
                  <a:lnTo>
                    <a:pt x="1583" y="1347"/>
                  </a:lnTo>
                  <a:lnTo>
                    <a:pt x="3805" y="606"/>
                  </a:lnTo>
                  <a:lnTo>
                    <a:pt x="4512" y="303"/>
                  </a:lnTo>
                  <a:lnTo>
                    <a:pt x="5252" y="0"/>
                  </a:lnTo>
                  <a:lnTo>
                    <a:pt x="4579" y="0"/>
                  </a:lnTo>
                  <a:lnTo>
                    <a:pt x="4040" y="236"/>
                  </a:lnTo>
                  <a:lnTo>
                    <a:pt x="3502" y="438"/>
                  </a:lnTo>
                  <a:lnTo>
                    <a:pt x="202" y="1582"/>
                  </a:lnTo>
                  <a:lnTo>
                    <a:pt x="236" y="1347"/>
                  </a:lnTo>
                  <a:lnTo>
                    <a:pt x="269" y="1212"/>
                  </a:lnTo>
                  <a:lnTo>
                    <a:pt x="337" y="1077"/>
                  </a:lnTo>
                  <a:lnTo>
                    <a:pt x="505" y="842"/>
                  </a:lnTo>
                  <a:lnTo>
                    <a:pt x="774" y="640"/>
                  </a:lnTo>
                  <a:lnTo>
                    <a:pt x="1078" y="471"/>
                  </a:lnTo>
                  <a:lnTo>
                    <a:pt x="1414" y="303"/>
                  </a:lnTo>
                  <a:lnTo>
                    <a:pt x="1717" y="202"/>
                  </a:lnTo>
                  <a:lnTo>
                    <a:pt x="2054" y="101"/>
                  </a:lnTo>
                  <a:lnTo>
                    <a:pt x="2323" y="67"/>
                  </a:lnTo>
                  <a:lnTo>
                    <a:pt x="2357" y="67"/>
                  </a:lnTo>
                  <a:lnTo>
                    <a:pt x="2391"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785" name="Google Shape;1785;p12"/>
            <p:cNvSpPr/>
            <p:nvPr/>
          </p:nvSpPr>
          <p:spPr>
            <a:xfrm>
              <a:off x="1661887" y="155793"/>
              <a:ext cx="390417" cy="172568"/>
            </a:xfrm>
            <a:custGeom>
              <a:avLst/>
              <a:gdLst/>
              <a:ahLst/>
              <a:cxnLst/>
              <a:rect l="l" t="t" r="r" b="b"/>
              <a:pathLst>
                <a:path w="7846" h="3468" extrusionOk="0">
                  <a:moveTo>
                    <a:pt x="135" y="707"/>
                  </a:moveTo>
                  <a:lnTo>
                    <a:pt x="304" y="774"/>
                  </a:lnTo>
                  <a:lnTo>
                    <a:pt x="1583" y="774"/>
                  </a:lnTo>
                  <a:lnTo>
                    <a:pt x="1549" y="1179"/>
                  </a:lnTo>
                  <a:lnTo>
                    <a:pt x="1516" y="1549"/>
                  </a:lnTo>
                  <a:lnTo>
                    <a:pt x="1549" y="1953"/>
                  </a:lnTo>
                  <a:lnTo>
                    <a:pt x="506" y="1953"/>
                  </a:lnTo>
                  <a:lnTo>
                    <a:pt x="371" y="1987"/>
                  </a:lnTo>
                  <a:lnTo>
                    <a:pt x="203" y="2054"/>
                  </a:lnTo>
                  <a:lnTo>
                    <a:pt x="203" y="1717"/>
                  </a:lnTo>
                  <a:lnTo>
                    <a:pt x="203" y="1347"/>
                  </a:lnTo>
                  <a:lnTo>
                    <a:pt x="203" y="1010"/>
                  </a:lnTo>
                  <a:lnTo>
                    <a:pt x="203" y="875"/>
                  </a:lnTo>
                  <a:lnTo>
                    <a:pt x="135" y="707"/>
                  </a:lnTo>
                  <a:close/>
                  <a:moveTo>
                    <a:pt x="2189" y="236"/>
                  </a:moveTo>
                  <a:lnTo>
                    <a:pt x="2862" y="303"/>
                  </a:lnTo>
                  <a:lnTo>
                    <a:pt x="3536" y="303"/>
                  </a:lnTo>
                  <a:lnTo>
                    <a:pt x="4883" y="269"/>
                  </a:lnTo>
                  <a:lnTo>
                    <a:pt x="5556" y="303"/>
                  </a:lnTo>
                  <a:lnTo>
                    <a:pt x="6229" y="337"/>
                  </a:lnTo>
                  <a:lnTo>
                    <a:pt x="6903" y="370"/>
                  </a:lnTo>
                  <a:lnTo>
                    <a:pt x="7610" y="404"/>
                  </a:lnTo>
                  <a:lnTo>
                    <a:pt x="7542" y="707"/>
                  </a:lnTo>
                  <a:lnTo>
                    <a:pt x="7509" y="1044"/>
                  </a:lnTo>
                  <a:lnTo>
                    <a:pt x="7542" y="1684"/>
                  </a:lnTo>
                  <a:lnTo>
                    <a:pt x="7542" y="3098"/>
                  </a:lnTo>
                  <a:lnTo>
                    <a:pt x="6229" y="3030"/>
                  </a:lnTo>
                  <a:lnTo>
                    <a:pt x="4883" y="2963"/>
                  </a:lnTo>
                  <a:lnTo>
                    <a:pt x="3671" y="2862"/>
                  </a:lnTo>
                  <a:lnTo>
                    <a:pt x="3064" y="2828"/>
                  </a:lnTo>
                  <a:lnTo>
                    <a:pt x="2458" y="2862"/>
                  </a:lnTo>
                  <a:lnTo>
                    <a:pt x="2458" y="2828"/>
                  </a:lnTo>
                  <a:lnTo>
                    <a:pt x="2391" y="2795"/>
                  </a:lnTo>
                  <a:lnTo>
                    <a:pt x="2189" y="2694"/>
                  </a:lnTo>
                  <a:lnTo>
                    <a:pt x="2021" y="2626"/>
                  </a:lnTo>
                  <a:lnTo>
                    <a:pt x="1953" y="2559"/>
                  </a:lnTo>
                  <a:lnTo>
                    <a:pt x="1886" y="2492"/>
                  </a:lnTo>
                  <a:lnTo>
                    <a:pt x="1785" y="2256"/>
                  </a:lnTo>
                  <a:lnTo>
                    <a:pt x="1751" y="2088"/>
                  </a:lnTo>
                  <a:lnTo>
                    <a:pt x="1751" y="1886"/>
                  </a:lnTo>
                  <a:lnTo>
                    <a:pt x="1785" y="1549"/>
                  </a:lnTo>
                  <a:lnTo>
                    <a:pt x="1785" y="1179"/>
                  </a:lnTo>
                  <a:lnTo>
                    <a:pt x="1785" y="774"/>
                  </a:lnTo>
                  <a:lnTo>
                    <a:pt x="1852" y="606"/>
                  </a:lnTo>
                  <a:lnTo>
                    <a:pt x="1920" y="438"/>
                  </a:lnTo>
                  <a:lnTo>
                    <a:pt x="2021" y="337"/>
                  </a:lnTo>
                  <a:lnTo>
                    <a:pt x="2189" y="236"/>
                  </a:lnTo>
                  <a:close/>
                  <a:moveTo>
                    <a:pt x="3603" y="0"/>
                  </a:moveTo>
                  <a:lnTo>
                    <a:pt x="2930" y="34"/>
                  </a:lnTo>
                  <a:lnTo>
                    <a:pt x="2290" y="101"/>
                  </a:lnTo>
                  <a:lnTo>
                    <a:pt x="2256" y="67"/>
                  </a:lnTo>
                  <a:lnTo>
                    <a:pt x="1987" y="67"/>
                  </a:lnTo>
                  <a:lnTo>
                    <a:pt x="1886" y="135"/>
                  </a:lnTo>
                  <a:lnTo>
                    <a:pt x="1819" y="168"/>
                  </a:lnTo>
                  <a:lnTo>
                    <a:pt x="1751" y="269"/>
                  </a:lnTo>
                  <a:lnTo>
                    <a:pt x="1684" y="370"/>
                  </a:lnTo>
                  <a:lnTo>
                    <a:pt x="1617" y="606"/>
                  </a:lnTo>
                  <a:lnTo>
                    <a:pt x="1213" y="572"/>
                  </a:lnTo>
                  <a:lnTo>
                    <a:pt x="438" y="572"/>
                  </a:lnTo>
                  <a:lnTo>
                    <a:pt x="270" y="606"/>
                  </a:lnTo>
                  <a:lnTo>
                    <a:pt x="102" y="673"/>
                  </a:lnTo>
                  <a:lnTo>
                    <a:pt x="68" y="673"/>
                  </a:lnTo>
                  <a:lnTo>
                    <a:pt x="102" y="707"/>
                  </a:lnTo>
                  <a:lnTo>
                    <a:pt x="68" y="842"/>
                  </a:lnTo>
                  <a:lnTo>
                    <a:pt x="34" y="1010"/>
                  </a:lnTo>
                  <a:lnTo>
                    <a:pt x="34" y="1347"/>
                  </a:lnTo>
                  <a:lnTo>
                    <a:pt x="1" y="1751"/>
                  </a:lnTo>
                  <a:lnTo>
                    <a:pt x="34" y="1919"/>
                  </a:lnTo>
                  <a:lnTo>
                    <a:pt x="68" y="2121"/>
                  </a:lnTo>
                  <a:lnTo>
                    <a:pt x="102" y="2155"/>
                  </a:lnTo>
                  <a:lnTo>
                    <a:pt x="68" y="2189"/>
                  </a:lnTo>
                  <a:lnTo>
                    <a:pt x="405" y="2189"/>
                  </a:lnTo>
                  <a:lnTo>
                    <a:pt x="741" y="2155"/>
                  </a:lnTo>
                  <a:lnTo>
                    <a:pt x="1145" y="2189"/>
                  </a:lnTo>
                  <a:lnTo>
                    <a:pt x="1549" y="2155"/>
                  </a:lnTo>
                  <a:lnTo>
                    <a:pt x="1617" y="2492"/>
                  </a:lnTo>
                  <a:lnTo>
                    <a:pt x="1684" y="2626"/>
                  </a:lnTo>
                  <a:lnTo>
                    <a:pt x="1751" y="2761"/>
                  </a:lnTo>
                  <a:lnTo>
                    <a:pt x="1852" y="2862"/>
                  </a:lnTo>
                  <a:lnTo>
                    <a:pt x="1953" y="2963"/>
                  </a:lnTo>
                  <a:lnTo>
                    <a:pt x="2088" y="2997"/>
                  </a:lnTo>
                  <a:lnTo>
                    <a:pt x="2290" y="2997"/>
                  </a:lnTo>
                  <a:lnTo>
                    <a:pt x="2930" y="3064"/>
                  </a:lnTo>
                  <a:lnTo>
                    <a:pt x="3603" y="3131"/>
                  </a:lnTo>
                  <a:lnTo>
                    <a:pt x="4883" y="3165"/>
                  </a:lnTo>
                  <a:lnTo>
                    <a:pt x="6196" y="3266"/>
                  </a:lnTo>
                  <a:lnTo>
                    <a:pt x="7542" y="3333"/>
                  </a:lnTo>
                  <a:lnTo>
                    <a:pt x="7542" y="3367"/>
                  </a:lnTo>
                  <a:lnTo>
                    <a:pt x="7576" y="3434"/>
                  </a:lnTo>
                  <a:lnTo>
                    <a:pt x="7677" y="3468"/>
                  </a:lnTo>
                  <a:lnTo>
                    <a:pt x="7778" y="3434"/>
                  </a:lnTo>
                  <a:lnTo>
                    <a:pt x="7812" y="3367"/>
                  </a:lnTo>
                  <a:lnTo>
                    <a:pt x="7812" y="3333"/>
                  </a:lnTo>
                  <a:lnTo>
                    <a:pt x="7812" y="2559"/>
                  </a:lnTo>
                  <a:lnTo>
                    <a:pt x="7812" y="1818"/>
                  </a:lnTo>
                  <a:lnTo>
                    <a:pt x="7845" y="1078"/>
                  </a:lnTo>
                  <a:lnTo>
                    <a:pt x="7812" y="707"/>
                  </a:lnTo>
                  <a:lnTo>
                    <a:pt x="7778" y="337"/>
                  </a:lnTo>
                  <a:lnTo>
                    <a:pt x="7744" y="303"/>
                  </a:lnTo>
                  <a:lnTo>
                    <a:pt x="7778" y="269"/>
                  </a:lnTo>
                  <a:lnTo>
                    <a:pt x="7744" y="202"/>
                  </a:lnTo>
                  <a:lnTo>
                    <a:pt x="7711" y="168"/>
                  </a:lnTo>
                  <a:lnTo>
                    <a:pt x="7643" y="135"/>
                  </a:lnTo>
                  <a:lnTo>
                    <a:pt x="6970" y="135"/>
                  </a:lnTo>
                  <a:lnTo>
                    <a:pt x="6297" y="101"/>
                  </a:lnTo>
                  <a:lnTo>
                    <a:pt x="4950" y="34"/>
                  </a:lnTo>
                  <a:lnTo>
                    <a:pt x="4277" y="34"/>
                  </a:lnTo>
                  <a:lnTo>
                    <a:pt x="3603"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786" name="Google Shape;1786;p12"/>
            <p:cNvSpPr/>
            <p:nvPr/>
          </p:nvSpPr>
          <p:spPr>
            <a:xfrm>
              <a:off x="1698759" y="204358"/>
              <a:ext cx="28512" cy="13435"/>
            </a:xfrm>
            <a:custGeom>
              <a:avLst/>
              <a:gdLst/>
              <a:ahLst/>
              <a:cxnLst/>
              <a:rect l="l" t="t" r="r" b="b"/>
              <a:pathLst>
                <a:path w="573" h="270" extrusionOk="0">
                  <a:moveTo>
                    <a:pt x="169" y="1"/>
                  </a:moveTo>
                  <a:lnTo>
                    <a:pt x="34" y="34"/>
                  </a:lnTo>
                  <a:lnTo>
                    <a:pt x="0" y="68"/>
                  </a:lnTo>
                  <a:lnTo>
                    <a:pt x="0" y="135"/>
                  </a:lnTo>
                  <a:lnTo>
                    <a:pt x="0" y="169"/>
                  </a:lnTo>
                  <a:lnTo>
                    <a:pt x="34" y="203"/>
                  </a:lnTo>
                  <a:lnTo>
                    <a:pt x="135" y="236"/>
                  </a:lnTo>
                  <a:lnTo>
                    <a:pt x="236" y="236"/>
                  </a:lnTo>
                  <a:lnTo>
                    <a:pt x="438" y="270"/>
                  </a:lnTo>
                  <a:lnTo>
                    <a:pt x="505" y="270"/>
                  </a:lnTo>
                  <a:lnTo>
                    <a:pt x="539" y="236"/>
                  </a:lnTo>
                  <a:lnTo>
                    <a:pt x="573" y="169"/>
                  </a:lnTo>
                  <a:lnTo>
                    <a:pt x="539" y="68"/>
                  </a:lnTo>
                  <a:lnTo>
                    <a:pt x="505" y="34"/>
                  </a:lnTo>
                  <a:lnTo>
                    <a:pt x="472"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787" name="Google Shape;1787;p12"/>
            <p:cNvSpPr/>
            <p:nvPr/>
          </p:nvSpPr>
          <p:spPr>
            <a:xfrm>
              <a:off x="1978510" y="202666"/>
              <a:ext cx="15127" cy="77128"/>
            </a:xfrm>
            <a:custGeom>
              <a:avLst/>
              <a:gdLst/>
              <a:ahLst/>
              <a:cxnLst/>
              <a:rect l="l" t="t" r="r" b="b"/>
              <a:pathLst>
                <a:path w="304" h="1550" extrusionOk="0">
                  <a:moveTo>
                    <a:pt x="237" y="1"/>
                  </a:moveTo>
                  <a:lnTo>
                    <a:pt x="136" y="136"/>
                  </a:lnTo>
                  <a:lnTo>
                    <a:pt x="68" y="304"/>
                  </a:lnTo>
                  <a:lnTo>
                    <a:pt x="35" y="641"/>
                  </a:lnTo>
                  <a:lnTo>
                    <a:pt x="1" y="1045"/>
                  </a:lnTo>
                  <a:lnTo>
                    <a:pt x="68" y="1449"/>
                  </a:lnTo>
                  <a:lnTo>
                    <a:pt x="68" y="1516"/>
                  </a:lnTo>
                  <a:lnTo>
                    <a:pt x="102" y="1516"/>
                  </a:lnTo>
                  <a:lnTo>
                    <a:pt x="203" y="1550"/>
                  </a:lnTo>
                  <a:lnTo>
                    <a:pt x="304" y="1482"/>
                  </a:lnTo>
                  <a:lnTo>
                    <a:pt x="304" y="1449"/>
                  </a:lnTo>
                  <a:lnTo>
                    <a:pt x="304" y="1381"/>
                  </a:lnTo>
                  <a:lnTo>
                    <a:pt x="270" y="1011"/>
                  </a:lnTo>
                  <a:lnTo>
                    <a:pt x="270" y="641"/>
                  </a:lnTo>
                  <a:lnTo>
                    <a:pt x="304" y="338"/>
                  </a:lnTo>
                  <a:lnTo>
                    <a:pt x="304" y="169"/>
                  </a:lnTo>
                  <a:lnTo>
                    <a:pt x="304" y="35"/>
                  </a:lnTo>
                  <a:lnTo>
                    <a:pt x="270"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788" name="Google Shape;1788;p12"/>
            <p:cNvSpPr/>
            <p:nvPr/>
          </p:nvSpPr>
          <p:spPr>
            <a:xfrm>
              <a:off x="1956765" y="217744"/>
              <a:ext cx="11743" cy="41948"/>
            </a:xfrm>
            <a:custGeom>
              <a:avLst/>
              <a:gdLst/>
              <a:ahLst/>
              <a:cxnLst/>
              <a:rect l="l" t="t" r="r" b="b"/>
              <a:pathLst>
                <a:path w="236" h="843" extrusionOk="0">
                  <a:moveTo>
                    <a:pt x="135" y="1"/>
                  </a:moveTo>
                  <a:lnTo>
                    <a:pt x="68" y="68"/>
                  </a:lnTo>
                  <a:lnTo>
                    <a:pt x="34" y="169"/>
                  </a:lnTo>
                  <a:lnTo>
                    <a:pt x="0" y="338"/>
                  </a:lnTo>
                  <a:lnTo>
                    <a:pt x="0" y="742"/>
                  </a:lnTo>
                  <a:lnTo>
                    <a:pt x="34" y="775"/>
                  </a:lnTo>
                  <a:lnTo>
                    <a:pt x="68" y="809"/>
                  </a:lnTo>
                  <a:lnTo>
                    <a:pt x="135" y="843"/>
                  </a:lnTo>
                  <a:lnTo>
                    <a:pt x="202" y="809"/>
                  </a:lnTo>
                  <a:lnTo>
                    <a:pt x="236" y="775"/>
                  </a:lnTo>
                  <a:lnTo>
                    <a:pt x="236" y="742"/>
                  </a:lnTo>
                  <a:lnTo>
                    <a:pt x="202" y="405"/>
                  </a:lnTo>
                  <a:lnTo>
                    <a:pt x="236" y="237"/>
                  </a:lnTo>
                  <a:lnTo>
                    <a:pt x="236" y="68"/>
                  </a:lnTo>
                  <a:lnTo>
                    <a:pt x="202"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789" name="Google Shape;1789;p12"/>
            <p:cNvSpPr/>
            <p:nvPr/>
          </p:nvSpPr>
          <p:spPr>
            <a:xfrm>
              <a:off x="1485985" y="92100"/>
              <a:ext cx="174309" cy="150823"/>
            </a:xfrm>
            <a:custGeom>
              <a:avLst/>
              <a:gdLst/>
              <a:ahLst/>
              <a:cxnLst/>
              <a:rect l="l" t="t" r="r" b="b"/>
              <a:pathLst>
                <a:path w="3503" h="3031" extrusionOk="0">
                  <a:moveTo>
                    <a:pt x="1516" y="169"/>
                  </a:moveTo>
                  <a:lnTo>
                    <a:pt x="1886" y="304"/>
                  </a:lnTo>
                  <a:lnTo>
                    <a:pt x="2256" y="472"/>
                  </a:lnTo>
                  <a:lnTo>
                    <a:pt x="2627" y="708"/>
                  </a:lnTo>
                  <a:lnTo>
                    <a:pt x="2930" y="977"/>
                  </a:lnTo>
                  <a:lnTo>
                    <a:pt x="2829" y="1011"/>
                  </a:lnTo>
                  <a:lnTo>
                    <a:pt x="2728" y="1044"/>
                  </a:lnTo>
                  <a:lnTo>
                    <a:pt x="2559" y="1145"/>
                  </a:lnTo>
                  <a:lnTo>
                    <a:pt x="2391" y="1314"/>
                  </a:lnTo>
                  <a:lnTo>
                    <a:pt x="2256" y="1482"/>
                  </a:lnTo>
                  <a:lnTo>
                    <a:pt x="2021" y="1819"/>
                  </a:lnTo>
                  <a:lnTo>
                    <a:pt x="1819" y="2155"/>
                  </a:lnTo>
                  <a:lnTo>
                    <a:pt x="1751" y="2358"/>
                  </a:lnTo>
                  <a:lnTo>
                    <a:pt x="1684" y="2560"/>
                  </a:lnTo>
                  <a:lnTo>
                    <a:pt x="1650" y="2526"/>
                  </a:lnTo>
                  <a:lnTo>
                    <a:pt x="1314" y="2324"/>
                  </a:lnTo>
                  <a:lnTo>
                    <a:pt x="1011" y="2088"/>
                  </a:lnTo>
                  <a:lnTo>
                    <a:pt x="809" y="1852"/>
                  </a:lnTo>
                  <a:lnTo>
                    <a:pt x="573" y="1617"/>
                  </a:lnTo>
                  <a:lnTo>
                    <a:pt x="135" y="1213"/>
                  </a:lnTo>
                  <a:lnTo>
                    <a:pt x="169" y="1179"/>
                  </a:lnTo>
                  <a:lnTo>
                    <a:pt x="304" y="1011"/>
                  </a:lnTo>
                  <a:lnTo>
                    <a:pt x="438" y="876"/>
                  </a:lnTo>
                  <a:lnTo>
                    <a:pt x="775" y="640"/>
                  </a:lnTo>
                  <a:lnTo>
                    <a:pt x="1112" y="405"/>
                  </a:lnTo>
                  <a:lnTo>
                    <a:pt x="1280" y="304"/>
                  </a:lnTo>
                  <a:lnTo>
                    <a:pt x="1482" y="203"/>
                  </a:lnTo>
                  <a:lnTo>
                    <a:pt x="1516" y="169"/>
                  </a:lnTo>
                  <a:close/>
                  <a:moveTo>
                    <a:pt x="3064" y="1044"/>
                  </a:moveTo>
                  <a:lnTo>
                    <a:pt x="3266" y="1246"/>
                  </a:lnTo>
                  <a:lnTo>
                    <a:pt x="3165" y="1482"/>
                  </a:lnTo>
                  <a:lnTo>
                    <a:pt x="3031" y="1718"/>
                  </a:lnTo>
                  <a:lnTo>
                    <a:pt x="2694" y="2122"/>
                  </a:lnTo>
                  <a:lnTo>
                    <a:pt x="2324" y="2492"/>
                  </a:lnTo>
                  <a:lnTo>
                    <a:pt x="2155" y="2661"/>
                  </a:lnTo>
                  <a:lnTo>
                    <a:pt x="1953" y="2728"/>
                  </a:lnTo>
                  <a:lnTo>
                    <a:pt x="1987" y="2492"/>
                  </a:lnTo>
                  <a:lnTo>
                    <a:pt x="2054" y="2324"/>
                  </a:lnTo>
                  <a:lnTo>
                    <a:pt x="2122" y="2155"/>
                  </a:lnTo>
                  <a:lnTo>
                    <a:pt x="2324" y="1852"/>
                  </a:lnTo>
                  <a:lnTo>
                    <a:pt x="2458" y="1650"/>
                  </a:lnTo>
                  <a:lnTo>
                    <a:pt x="2627" y="1415"/>
                  </a:lnTo>
                  <a:lnTo>
                    <a:pt x="2795" y="1213"/>
                  </a:lnTo>
                  <a:lnTo>
                    <a:pt x="3031" y="1078"/>
                  </a:lnTo>
                  <a:lnTo>
                    <a:pt x="3031" y="1044"/>
                  </a:lnTo>
                  <a:close/>
                  <a:moveTo>
                    <a:pt x="1415" y="1"/>
                  </a:moveTo>
                  <a:lnTo>
                    <a:pt x="1179" y="102"/>
                  </a:lnTo>
                  <a:lnTo>
                    <a:pt x="977" y="203"/>
                  </a:lnTo>
                  <a:lnTo>
                    <a:pt x="573" y="506"/>
                  </a:lnTo>
                  <a:lnTo>
                    <a:pt x="405" y="640"/>
                  </a:lnTo>
                  <a:lnTo>
                    <a:pt x="236" y="775"/>
                  </a:lnTo>
                  <a:lnTo>
                    <a:pt x="68" y="943"/>
                  </a:lnTo>
                  <a:lnTo>
                    <a:pt x="34" y="1044"/>
                  </a:lnTo>
                  <a:lnTo>
                    <a:pt x="34" y="1145"/>
                  </a:lnTo>
                  <a:lnTo>
                    <a:pt x="34" y="1179"/>
                  </a:lnTo>
                  <a:lnTo>
                    <a:pt x="1" y="1246"/>
                  </a:lnTo>
                  <a:lnTo>
                    <a:pt x="1" y="1314"/>
                  </a:lnTo>
                  <a:lnTo>
                    <a:pt x="68" y="1415"/>
                  </a:lnTo>
                  <a:lnTo>
                    <a:pt x="169" y="1583"/>
                  </a:lnTo>
                  <a:lnTo>
                    <a:pt x="337" y="1751"/>
                  </a:lnTo>
                  <a:lnTo>
                    <a:pt x="607" y="2054"/>
                  </a:lnTo>
                  <a:lnTo>
                    <a:pt x="842" y="2290"/>
                  </a:lnTo>
                  <a:lnTo>
                    <a:pt x="1112" y="2492"/>
                  </a:lnTo>
                  <a:lnTo>
                    <a:pt x="1381" y="2661"/>
                  </a:lnTo>
                  <a:lnTo>
                    <a:pt x="1617" y="2829"/>
                  </a:lnTo>
                  <a:lnTo>
                    <a:pt x="1617" y="2863"/>
                  </a:lnTo>
                  <a:lnTo>
                    <a:pt x="1617" y="2896"/>
                  </a:lnTo>
                  <a:lnTo>
                    <a:pt x="1617" y="2930"/>
                  </a:lnTo>
                  <a:lnTo>
                    <a:pt x="1684" y="2997"/>
                  </a:lnTo>
                  <a:lnTo>
                    <a:pt x="1785" y="3031"/>
                  </a:lnTo>
                  <a:lnTo>
                    <a:pt x="1852" y="2964"/>
                  </a:lnTo>
                  <a:lnTo>
                    <a:pt x="2088" y="2964"/>
                  </a:lnTo>
                  <a:lnTo>
                    <a:pt x="2223" y="2896"/>
                  </a:lnTo>
                  <a:lnTo>
                    <a:pt x="2324" y="2829"/>
                  </a:lnTo>
                  <a:lnTo>
                    <a:pt x="2593" y="2593"/>
                  </a:lnTo>
                  <a:lnTo>
                    <a:pt x="2829" y="2290"/>
                  </a:lnTo>
                  <a:lnTo>
                    <a:pt x="3064" y="1987"/>
                  </a:lnTo>
                  <a:lnTo>
                    <a:pt x="3266" y="1650"/>
                  </a:lnTo>
                  <a:lnTo>
                    <a:pt x="3401" y="1415"/>
                  </a:lnTo>
                  <a:lnTo>
                    <a:pt x="3502" y="1246"/>
                  </a:lnTo>
                  <a:lnTo>
                    <a:pt x="3468" y="1179"/>
                  </a:lnTo>
                  <a:lnTo>
                    <a:pt x="3435" y="1112"/>
                  </a:lnTo>
                  <a:lnTo>
                    <a:pt x="3334" y="1011"/>
                  </a:lnTo>
                  <a:lnTo>
                    <a:pt x="3233" y="943"/>
                  </a:lnTo>
                  <a:lnTo>
                    <a:pt x="3233" y="876"/>
                  </a:lnTo>
                  <a:lnTo>
                    <a:pt x="3199" y="842"/>
                  </a:lnTo>
                  <a:lnTo>
                    <a:pt x="2829" y="539"/>
                  </a:lnTo>
                  <a:lnTo>
                    <a:pt x="2425" y="270"/>
                  </a:lnTo>
                  <a:lnTo>
                    <a:pt x="2189" y="135"/>
                  </a:lnTo>
                  <a:lnTo>
                    <a:pt x="1953" y="34"/>
                  </a:lnTo>
                  <a:lnTo>
                    <a:pt x="1718"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790" name="Google Shape;1790;p12"/>
            <p:cNvSpPr/>
            <p:nvPr/>
          </p:nvSpPr>
          <p:spPr>
            <a:xfrm>
              <a:off x="1697067" y="227795"/>
              <a:ext cx="28562" cy="15127"/>
            </a:xfrm>
            <a:custGeom>
              <a:avLst/>
              <a:gdLst/>
              <a:ahLst/>
              <a:cxnLst/>
              <a:rect l="l" t="t" r="r" b="b"/>
              <a:pathLst>
                <a:path w="574" h="304" extrusionOk="0">
                  <a:moveTo>
                    <a:pt x="405" y="1"/>
                  </a:moveTo>
                  <a:lnTo>
                    <a:pt x="169" y="35"/>
                  </a:lnTo>
                  <a:lnTo>
                    <a:pt x="68" y="102"/>
                  </a:lnTo>
                  <a:lnTo>
                    <a:pt x="34" y="136"/>
                  </a:lnTo>
                  <a:lnTo>
                    <a:pt x="34" y="169"/>
                  </a:lnTo>
                  <a:lnTo>
                    <a:pt x="1" y="203"/>
                  </a:lnTo>
                  <a:lnTo>
                    <a:pt x="68" y="270"/>
                  </a:lnTo>
                  <a:lnTo>
                    <a:pt x="135" y="270"/>
                  </a:lnTo>
                  <a:lnTo>
                    <a:pt x="203" y="304"/>
                  </a:lnTo>
                  <a:lnTo>
                    <a:pt x="438" y="270"/>
                  </a:lnTo>
                  <a:lnTo>
                    <a:pt x="506" y="237"/>
                  </a:lnTo>
                  <a:lnTo>
                    <a:pt x="573" y="203"/>
                  </a:lnTo>
                  <a:lnTo>
                    <a:pt x="573" y="169"/>
                  </a:lnTo>
                  <a:lnTo>
                    <a:pt x="573" y="102"/>
                  </a:lnTo>
                  <a:lnTo>
                    <a:pt x="573" y="68"/>
                  </a:lnTo>
                  <a:lnTo>
                    <a:pt x="539" y="35"/>
                  </a:lnTo>
                  <a:lnTo>
                    <a:pt x="472"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grpSp>
      <p:grpSp>
        <p:nvGrpSpPr>
          <p:cNvPr id="1791" name="Google Shape;1791;p12"/>
          <p:cNvGrpSpPr/>
          <p:nvPr/>
        </p:nvGrpSpPr>
        <p:grpSpPr>
          <a:xfrm>
            <a:off x="10581109" y="2232687"/>
            <a:ext cx="1610632" cy="1927835"/>
            <a:chOff x="5654182" y="1903115"/>
            <a:chExt cx="1207974" cy="1445876"/>
          </a:xfrm>
        </p:grpSpPr>
        <p:sp>
          <p:nvSpPr>
            <p:cNvPr id="1792" name="Google Shape;1792;p12"/>
            <p:cNvSpPr/>
            <p:nvPr/>
          </p:nvSpPr>
          <p:spPr>
            <a:xfrm>
              <a:off x="6773284" y="2228147"/>
              <a:ext cx="88871" cy="36922"/>
            </a:xfrm>
            <a:custGeom>
              <a:avLst/>
              <a:gdLst/>
              <a:ahLst/>
              <a:cxnLst/>
              <a:rect l="l" t="t" r="r" b="b"/>
              <a:pathLst>
                <a:path w="1786" h="742" extrusionOk="0">
                  <a:moveTo>
                    <a:pt x="1752" y="1"/>
                  </a:moveTo>
                  <a:lnTo>
                    <a:pt x="1314" y="102"/>
                  </a:lnTo>
                  <a:lnTo>
                    <a:pt x="876" y="236"/>
                  </a:lnTo>
                  <a:lnTo>
                    <a:pt x="439" y="405"/>
                  </a:lnTo>
                  <a:lnTo>
                    <a:pt x="35" y="573"/>
                  </a:lnTo>
                  <a:lnTo>
                    <a:pt x="1" y="607"/>
                  </a:lnTo>
                  <a:lnTo>
                    <a:pt x="1" y="674"/>
                  </a:lnTo>
                  <a:lnTo>
                    <a:pt x="35" y="708"/>
                  </a:lnTo>
                  <a:lnTo>
                    <a:pt x="68" y="741"/>
                  </a:lnTo>
                  <a:lnTo>
                    <a:pt x="371" y="708"/>
                  </a:lnTo>
                  <a:lnTo>
                    <a:pt x="641" y="640"/>
                  </a:lnTo>
                  <a:lnTo>
                    <a:pt x="1213" y="438"/>
                  </a:lnTo>
                  <a:lnTo>
                    <a:pt x="1785" y="270"/>
                  </a:lnTo>
                  <a:lnTo>
                    <a:pt x="1785"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793" name="Google Shape;1793;p12"/>
            <p:cNvSpPr/>
            <p:nvPr/>
          </p:nvSpPr>
          <p:spPr>
            <a:xfrm>
              <a:off x="6726410" y="2104195"/>
              <a:ext cx="135745" cy="48616"/>
            </a:xfrm>
            <a:custGeom>
              <a:avLst/>
              <a:gdLst/>
              <a:ahLst/>
              <a:cxnLst/>
              <a:rect l="l" t="t" r="r" b="b"/>
              <a:pathLst>
                <a:path w="2728" h="977" extrusionOk="0">
                  <a:moveTo>
                    <a:pt x="2727" y="0"/>
                  </a:moveTo>
                  <a:lnTo>
                    <a:pt x="2492" y="67"/>
                  </a:lnTo>
                  <a:lnTo>
                    <a:pt x="1886" y="236"/>
                  </a:lnTo>
                  <a:lnTo>
                    <a:pt x="1246" y="438"/>
                  </a:lnTo>
                  <a:lnTo>
                    <a:pt x="34" y="909"/>
                  </a:lnTo>
                  <a:lnTo>
                    <a:pt x="0" y="943"/>
                  </a:lnTo>
                  <a:lnTo>
                    <a:pt x="34" y="976"/>
                  </a:lnTo>
                  <a:lnTo>
                    <a:pt x="371" y="976"/>
                  </a:lnTo>
                  <a:lnTo>
                    <a:pt x="707" y="943"/>
                  </a:lnTo>
                  <a:lnTo>
                    <a:pt x="1044" y="842"/>
                  </a:lnTo>
                  <a:lnTo>
                    <a:pt x="1381" y="741"/>
                  </a:lnTo>
                  <a:lnTo>
                    <a:pt x="2054" y="505"/>
                  </a:lnTo>
                  <a:lnTo>
                    <a:pt x="2391" y="404"/>
                  </a:lnTo>
                  <a:lnTo>
                    <a:pt x="2727" y="303"/>
                  </a:lnTo>
                  <a:lnTo>
                    <a:pt x="2727"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794" name="Google Shape;1794;p12"/>
            <p:cNvSpPr/>
            <p:nvPr/>
          </p:nvSpPr>
          <p:spPr>
            <a:xfrm>
              <a:off x="6746513" y="2144401"/>
              <a:ext cx="115642" cy="43590"/>
            </a:xfrm>
            <a:custGeom>
              <a:avLst/>
              <a:gdLst/>
              <a:ahLst/>
              <a:cxnLst/>
              <a:rect l="l" t="t" r="r" b="b"/>
              <a:pathLst>
                <a:path w="2324" h="876" extrusionOk="0">
                  <a:moveTo>
                    <a:pt x="2323" y="0"/>
                  </a:moveTo>
                  <a:lnTo>
                    <a:pt x="1953" y="135"/>
                  </a:lnTo>
                  <a:lnTo>
                    <a:pt x="1448" y="303"/>
                  </a:lnTo>
                  <a:lnTo>
                    <a:pt x="977" y="471"/>
                  </a:lnTo>
                  <a:lnTo>
                    <a:pt x="472" y="640"/>
                  </a:lnTo>
                  <a:lnTo>
                    <a:pt x="34" y="842"/>
                  </a:lnTo>
                  <a:lnTo>
                    <a:pt x="0" y="875"/>
                  </a:lnTo>
                  <a:lnTo>
                    <a:pt x="303" y="875"/>
                  </a:lnTo>
                  <a:lnTo>
                    <a:pt x="539" y="842"/>
                  </a:lnTo>
                  <a:lnTo>
                    <a:pt x="1044" y="741"/>
                  </a:lnTo>
                  <a:lnTo>
                    <a:pt x="1549" y="606"/>
                  </a:lnTo>
                  <a:lnTo>
                    <a:pt x="2020" y="438"/>
                  </a:lnTo>
                  <a:lnTo>
                    <a:pt x="2323" y="303"/>
                  </a:lnTo>
                  <a:lnTo>
                    <a:pt x="2323"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795" name="Google Shape;1795;p12"/>
            <p:cNvSpPr/>
            <p:nvPr/>
          </p:nvSpPr>
          <p:spPr>
            <a:xfrm>
              <a:off x="6793387" y="2305226"/>
              <a:ext cx="68768" cy="31846"/>
            </a:xfrm>
            <a:custGeom>
              <a:avLst/>
              <a:gdLst/>
              <a:ahLst/>
              <a:cxnLst/>
              <a:rect l="l" t="t" r="r" b="b"/>
              <a:pathLst>
                <a:path w="1382" h="640" extrusionOk="0">
                  <a:moveTo>
                    <a:pt x="1381" y="0"/>
                  </a:moveTo>
                  <a:lnTo>
                    <a:pt x="1045" y="101"/>
                  </a:lnTo>
                  <a:lnTo>
                    <a:pt x="775" y="169"/>
                  </a:lnTo>
                  <a:lnTo>
                    <a:pt x="439" y="236"/>
                  </a:lnTo>
                  <a:lnTo>
                    <a:pt x="270" y="303"/>
                  </a:lnTo>
                  <a:lnTo>
                    <a:pt x="136" y="404"/>
                  </a:lnTo>
                  <a:lnTo>
                    <a:pt x="68" y="505"/>
                  </a:lnTo>
                  <a:lnTo>
                    <a:pt x="1" y="640"/>
                  </a:lnTo>
                  <a:lnTo>
                    <a:pt x="35" y="640"/>
                  </a:lnTo>
                  <a:lnTo>
                    <a:pt x="371" y="573"/>
                  </a:lnTo>
                  <a:lnTo>
                    <a:pt x="708" y="472"/>
                  </a:lnTo>
                  <a:lnTo>
                    <a:pt x="1381" y="303"/>
                  </a:lnTo>
                  <a:lnTo>
                    <a:pt x="1381"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796" name="Google Shape;1796;p12"/>
            <p:cNvSpPr/>
            <p:nvPr/>
          </p:nvSpPr>
          <p:spPr>
            <a:xfrm>
              <a:off x="6726410" y="2055580"/>
              <a:ext cx="135745" cy="50307"/>
            </a:xfrm>
            <a:custGeom>
              <a:avLst/>
              <a:gdLst/>
              <a:ahLst/>
              <a:cxnLst/>
              <a:rect l="l" t="t" r="r" b="b"/>
              <a:pathLst>
                <a:path w="2728" h="1011" extrusionOk="0">
                  <a:moveTo>
                    <a:pt x="2727" y="1"/>
                  </a:moveTo>
                  <a:lnTo>
                    <a:pt x="1347" y="438"/>
                  </a:lnTo>
                  <a:lnTo>
                    <a:pt x="674" y="674"/>
                  </a:lnTo>
                  <a:lnTo>
                    <a:pt x="34" y="943"/>
                  </a:lnTo>
                  <a:lnTo>
                    <a:pt x="0" y="977"/>
                  </a:lnTo>
                  <a:lnTo>
                    <a:pt x="34" y="1011"/>
                  </a:lnTo>
                  <a:lnTo>
                    <a:pt x="404" y="1011"/>
                  </a:lnTo>
                  <a:lnTo>
                    <a:pt x="775" y="943"/>
                  </a:lnTo>
                  <a:lnTo>
                    <a:pt x="1145" y="809"/>
                  </a:lnTo>
                  <a:lnTo>
                    <a:pt x="1515" y="674"/>
                  </a:lnTo>
                  <a:lnTo>
                    <a:pt x="2121" y="438"/>
                  </a:lnTo>
                  <a:lnTo>
                    <a:pt x="2727" y="236"/>
                  </a:lnTo>
                  <a:lnTo>
                    <a:pt x="2727"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797" name="Google Shape;1797;p12"/>
            <p:cNvSpPr/>
            <p:nvPr/>
          </p:nvSpPr>
          <p:spPr>
            <a:xfrm>
              <a:off x="6776668" y="2268353"/>
              <a:ext cx="85488" cy="38564"/>
            </a:xfrm>
            <a:custGeom>
              <a:avLst/>
              <a:gdLst/>
              <a:ahLst/>
              <a:cxnLst/>
              <a:rect l="l" t="t" r="r" b="b"/>
              <a:pathLst>
                <a:path w="1718" h="775" extrusionOk="0">
                  <a:moveTo>
                    <a:pt x="1717" y="1"/>
                  </a:moveTo>
                  <a:lnTo>
                    <a:pt x="842" y="337"/>
                  </a:lnTo>
                  <a:lnTo>
                    <a:pt x="34" y="708"/>
                  </a:lnTo>
                  <a:lnTo>
                    <a:pt x="0" y="741"/>
                  </a:lnTo>
                  <a:lnTo>
                    <a:pt x="68" y="775"/>
                  </a:lnTo>
                  <a:lnTo>
                    <a:pt x="472" y="741"/>
                  </a:lnTo>
                  <a:lnTo>
                    <a:pt x="876" y="640"/>
                  </a:lnTo>
                  <a:lnTo>
                    <a:pt x="1313" y="506"/>
                  </a:lnTo>
                  <a:lnTo>
                    <a:pt x="1717" y="371"/>
                  </a:lnTo>
                  <a:lnTo>
                    <a:pt x="1717"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798" name="Google Shape;1798;p12"/>
            <p:cNvSpPr/>
            <p:nvPr/>
          </p:nvSpPr>
          <p:spPr>
            <a:xfrm>
              <a:off x="5994291" y="2241533"/>
              <a:ext cx="321698" cy="110616"/>
            </a:xfrm>
            <a:custGeom>
              <a:avLst/>
              <a:gdLst/>
              <a:ahLst/>
              <a:cxnLst/>
              <a:rect l="l" t="t" r="r" b="b"/>
              <a:pathLst>
                <a:path w="6465" h="2223" extrusionOk="0">
                  <a:moveTo>
                    <a:pt x="6364" y="1"/>
                  </a:moveTo>
                  <a:lnTo>
                    <a:pt x="6128" y="102"/>
                  </a:lnTo>
                  <a:lnTo>
                    <a:pt x="5825" y="237"/>
                  </a:lnTo>
                  <a:lnTo>
                    <a:pt x="5252" y="540"/>
                  </a:lnTo>
                  <a:lnTo>
                    <a:pt x="4949" y="641"/>
                  </a:lnTo>
                  <a:lnTo>
                    <a:pt x="4646" y="708"/>
                  </a:lnTo>
                  <a:lnTo>
                    <a:pt x="4512" y="742"/>
                  </a:lnTo>
                  <a:lnTo>
                    <a:pt x="4343" y="742"/>
                  </a:lnTo>
                  <a:lnTo>
                    <a:pt x="4209" y="708"/>
                  </a:lnTo>
                  <a:lnTo>
                    <a:pt x="4074" y="641"/>
                  </a:lnTo>
                  <a:lnTo>
                    <a:pt x="4007" y="641"/>
                  </a:lnTo>
                  <a:lnTo>
                    <a:pt x="3939" y="674"/>
                  </a:lnTo>
                  <a:lnTo>
                    <a:pt x="3872" y="775"/>
                  </a:lnTo>
                  <a:lnTo>
                    <a:pt x="3805" y="876"/>
                  </a:lnTo>
                  <a:lnTo>
                    <a:pt x="3704" y="910"/>
                  </a:lnTo>
                  <a:lnTo>
                    <a:pt x="3636" y="944"/>
                  </a:lnTo>
                  <a:lnTo>
                    <a:pt x="3569" y="910"/>
                  </a:lnTo>
                  <a:lnTo>
                    <a:pt x="3502" y="843"/>
                  </a:lnTo>
                  <a:lnTo>
                    <a:pt x="3333" y="641"/>
                  </a:lnTo>
                  <a:lnTo>
                    <a:pt x="3367" y="472"/>
                  </a:lnTo>
                  <a:lnTo>
                    <a:pt x="3333" y="405"/>
                  </a:lnTo>
                  <a:lnTo>
                    <a:pt x="3300" y="371"/>
                  </a:lnTo>
                  <a:lnTo>
                    <a:pt x="3199" y="371"/>
                  </a:lnTo>
                  <a:lnTo>
                    <a:pt x="3030" y="506"/>
                  </a:lnTo>
                  <a:lnTo>
                    <a:pt x="2963" y="641"/>
                  </a:lnTo>
                  <a:lnTo>
                    <a:pt x="2929" y="775"/>
                  </a:lnTo>
                  <a:lnTo>
                    <a:pt x="2963" y="876"/>
                  </a:lnTo>
                  <a:lnTo>
                    <a:pt x="2828" y="1011"/>
                  </a:lnTo>
                  <a:lnTo>
                    <a:pt x="2727" y="1045"/>
                  </a:lnTo>
                  <a:lnTo>
                    <a:pt x="2593" y="1112"/>
                  </a:lnTo>
                  <a:lnTo>
                    <a:pt x="2458" y="1112"/>
                  </a:lnTo>
                  <a:lnTo>
                    <a:pt x="2391" y="1045"/>
                  </a:lnTo>
                  <a:lnTo>
                    <a:pt x="2391" y="977"/>
                  </a:lnTo>
                  <a:lnTo>
                    <a:pt x="2424" y="876"/>
                  </a:lnTo>
                  <a:lnTo>
                    <a:pt x="2424" y="843"/>
                  </a:lnTo>
                  <a:lnTo>
                    <a:pt x="2391" y="775"/>
                  </a:lnTo>
                  <a:lnTo>
                    <a:pt x="2323" y="742"/>
                  </a:lnTo>
                  <a:lnTo>
                    <a:pt x="2256" y="742"/>
                  </a:lnTo>
                  <a:lnTo>
                    <a:pt x="2222" y="809"/>
                  </a:lnTo>
                  <a:lnTo>
                    <a:pt x="2189" y="977"/>
                  </a:lnTo>
                  <a:lnTo>
                    <a:pt x="2088" y="1179"/>
                  </a:lnTo>
                  <a:lnTo>
                    <a:pt x="1919" y="1348"/>
                  </a:lnTo>
                  <a:lnTo>
                    <a:pt x="1751" y="1449"/>
                  </a:lnTo>
                  <a:lnTo>
                    <a:pt x="1515" y="1482"/>
                  </a:lnTo>
                  <a:lnTo>
                    <a:pt x="1313" y="1482"/>
                  </a:lnTo>
                  <a:lnTo>
                    <a:pt x="1179" y="1449"/>
                  </a:lnTo>
                  <a:lnTo>
                    <a:pt x="1347" y="1078"/>
                  </a:lnTo>
                  <a:lnTo>
                    <a:pt x="1414" y="809"/>
                  </a:lnTo>
                  <a:lnTo>
                    <a:pt x="1414" y="742"/>
                  </a:lnTo>
                  <a:lnTo>
                    <a:pt x="1381" y="708"/>
                  </a:lnTo>
                  <a:lnTo>
                    <a:pt x="1347" y="674"/>
                  </a:lnTo>
                  <a:lnTo>
                    <a:pt x="1280" y="708"/>
                  </a:lnTo>
                  <a:lnTo>
                    <a:pt x="1044" y="843"/>
                  </a:lnTo>
                  <a:lnTo>
                    <a:pt x="876" y="1078"/>
                  </a:lnTo>
                  <a:lnTo>
                    <a:pt x="842" y="1179"/>
                  </a:lnTo>
                  <a:lnTo>
                    <a:pt x="808" y="1280"/>
                  </a:lnTo>
                  <a:lnTo>
                    <a:pt x="808" y="1415"/>
                  </a:lnTo>
                  <a:lnTo>
                    <a:pt x="876" y="1516"/>
                  </a:lnTo>
                  <a:lnTo>
                    <a:pt x="606" y="1819"/>
                  </a:lnTo>
                  <a:lnTo>
                    <a:pt x="539" y="1886"/>
                  </a:lnTo>
                  <a:lnTo>
                    <a:pt x="472" y="1920"/>
                  </a:lnTo>
                  <a:lnTo>
                    <a:pt x="404" y="1920"/>
                  </a:lnTo>
                  <a:lnTo>
                    <a:pt x="371" y="1886"/>
                  </a:lnTo>
                  <a:lnTo>
                    <a:pt x="270" y="1819"/>
                  </a:lnTo>
                  <a:lnTo>
                    <a:pt x="202" y="1651"/>
                  </a:lnTo>
                  <a:lnTo>
                    <a:pt x="202" y="1482"/>
                  </a:lnTo>
                  <a:lnTo>
                    <a:pt x="236" y="1280"/>
                  </a:lnTo>
                  <a:lnTo>
                    <a:pt x="337" y="1112"/>
                  </a:lnTo>
                  <a:lnTo>
                    <a:pt x="404" y="1045"/>
                  </a:lnTo>
                  <a:lnTo>
                    <a:pt x="505" y="977"/>
                  </a:lnTo>
                  <a:lnTo>
                    <a:pt x="539" y="944"/>
                  </a:lnTo>
                  <a:lnTo>
                    <a:pt x="539" y="910"/>
                  </a:lnTo>
                  <a:lnTo>
                    <a:pt x="505" y="876"/>
                  </a:lnTo>
                  <a:lnTo>
                    <a:pt x="472" y="876"/>
                  </a:lnTo>
                  <a:lnTo>
                    <a:pt x="371" y="910"/>
                  </a:lnTo>
                  <a:lnTo>
                    <a:pt x="303" y="944"/>
                  </a:lnTo>
                  <a:lnTo>
                    <a:pt x="169" y="1078"/>
                  </a:lnTo>
                  <a:lnTo>
                    <a:pt x="68" y="1280"/>
                  </a:lnTo>
                  <a:lnTo>
                    <a:pt x="0" y="1516"/>
                  </a:lnTo>
                  <a:lnTo>
                    <a:pt x="0" y="1752"/>
                  </a:lnTo>
                  <a:lnTo>
                    <a:pt x="34" y="1954"/>
                  </a:lnTo>
                  <a:lnTo>
                    <a:pt x="68" y="2021"/>
                  </a:lnTo>
                  <a:lnTo>
                    <a:pt x="135" y="2122"/>
                  </a:lnTo>
                  <a:lnTo>
                    <a:pt x="202" y="2156"/>
                  </a:lnTo>
                  <a:lnTo>
                    <a:pt x="303" y="2189"/>
                  </a:lnTo>
                  <a:lnTo>
                    <a:pt x="404" y="2223"/>
                  </a:lnTo>
                  <a:lnTo>
                    <a:pt x="505" y="2189"/>
                  </a:lnTo>
                  <a:lnTo>
                    <a:pt x="606" y="2156"/>
                  </a:lnTo>
                  <a:lnTo>
                    <a:pt x="707" y="2088"/>
                  </a:lnTo>
                  <a:lnTo>
                    <a:pt x="909" y="1886"/>
                  </a:lnTo>
                  <a:lnTo>
                    <a:pt x="1078" y="1617"/>
                  </a:lnTo>
                  <a:lnTo>
                    <a:pt x="1145" y="1651"/>
                  </a:lnTo>
                  <a:lnTo>
                    <a:pt x="1313" y="1684"/>
                  </a:lnTo>
                  <a:lnTo>
                    <a:pt x="1482" y="1718"/>
                  </a:lnTo>
                  <a:lnTo>
                    <a:pt x="1650" y="1684"/>
                  </a:lnTo>
                  <a:lnTo>
                    <a:pt x="1818" y="1651"/>
                  </a:lnTo>
                  <a:lnTo>
                    <a:pt x="1953" y="1583"/>
                  </a:lnTo>
                  <a:lnTo>
                    <a:pt x="2088" y="1482"/>
                  </a:lnTo>
                  <a:lnTo>
                    <a:pt x="2189" y="1381"/>
                  </a:lnTo>
                  <a:lnTo>
                    <a:pt x="2290" y="1247"/>
                  </a:lnTo>
                  <a:lnTo>
                    <a:pt x="2357" y="1280"/>
                  </a:lnTo>
                  <a:lnTo>
                    <a:pt x="2458" y="1314"/>
                  </a:lnTo>
                  <a:lnTo>
                    <a:pt x="2660" y="1280"/>
                  </a:lnTo>
                  <a:lnTo>
                    <a:pt x="2896" y="1179"/>
                  </a:lnTo>
                  <a:lnTo>
                    <a:pt x="3098" y="1045"/>
                  </a:lnTo>
                  <a:lnTo>
                    <a:pt x="3232" y="1112"/>
                  </a:lnTo>
                  <a:lnTo>
                    <a:pt x="3401" y="1146"/>
                  </a:lnTo>
                  <a:lnTo>
                    <a:pt x="3603" y="1179"/>
                  </a:lnTo>
                  <a:lnTo>
                    <a:pt x="3771" y="1112"/>
                  </a:lnTo>
                  <a:lnTo>
                    <a:pt x="3906" y="1045"/>
                  </a:lnTo>
                  <a:lnTo>
                    <a:pt x="4007" y="977"/>
                  </a:lnTo>
                  <a:lnTo>
                    <a:pt x="4074" y="944"/>
                  </a:lnTo>
                  <a:lnTo>
                    <a:pt x="4209" y="910"/>
                  </a:lnTo>
                  <a:lnTo>
                    <a:pt x="4613" y="910"/>
                  </a:lnTo>
                  <a:lnTo>
                    <a:pt x="4983" y="809"/>
                  </a:lnTo>
                  <a:lnTo>
                    <a:pt x="5353" y="708"/>
                  </a:lnTo>
                  <a:lnTo>
                    <a:pt x="5757" y="540"/>
                  </a:lnTo>
                  <a:lnTo>
                    <a:pt x="6128" y="371"/>
                  </a:lnTo>
                  <a:lnTo>
                    <a:pt x="6296" y="237"/>
                  </a:lnTo>
                  <a:lnTo>
                    <a:pt x="6465" y="136"/>
                  </a:lnTo>
                  <a:lnTo>
                    <a:pt x="6465" y="68"/>
                  </a:lnTo>
                  <a:lnTo>
                    <a:pt x="6465" y="35"/>
                  </a:lnTo>
                  <a:lnTo>
                    <a:pt x="6431"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799" name="Google Shape;1799;p12"/>
            <p:cNvSpPr/>
            <p:nvPr/>
          </p:nvSpPr>
          <p:spPr>
            <a:xfrm>
              <a:off x="6123269" y="2578308"/>
              <a:ext cx="474163" cy="135745"/>
            </a:xfrm>
            <a:custGeom>
              <a:avLst/>
              <a:gdLst/>
              <a:ahLst/>
              <a:cxnLst/>
              <a:rect l="l" t="t" r="r" b="b"/>
              <a:pathLst>
                <a:path w="9529" h="2728" extrusionOk="0">
                  <a:moveTo>
                    <a:pt x="9360" y="0"/>
                  </a:moveTo>
                  <a:lnTo>
                    <a:pt x="8855" y="67"/>
                  </a:lnTo>
                  <a:lnTo>
                    <a:pt x="8350" y="168"/>
                  </a:lnTo>
                  <a:lnTo>
                    <a:pt x="7845" y="303"/>
                  </a:lnTo>
                  <a:lnTo>
                    <a:pt x="7340" y="471"/>
                  </a:lnTo>
                  <a:lnTo>
                    <a:pt x="6330" y="842"/>
                  </a:lnTo>
                  <a:lnTo>
                    <a:pt x="5825" y="1010"/>
                  </a:lnTo>
                  <a:lnTo>
                    <a:pt x="5320" y="1145"/>
                  </a:lnTo>
                  <a:lnTo>
                    <a:pt x="2694" y="1886"/>
                  </a:lnTo>
                  <a:lnTo>
                    <a:pt x="1516" y="2189"/>
                  </a:lnTo>
                  <a:lnTo>
                    <a:pt x="775" y="2357"/>
                  </a:lnTo>
                  <a:lnTo>
                    <a:pt x="539" y="2424"/>
                  </a:lnTo>
                  <a:lnTo>
                    <a:pt x="438" y="2424"/>
                  </a:lnTo>
                  <a:lnTo>
                    <a:pt x="337" y="2458"/>
                  </a:lnTo>
                  <a:lnTo>
                    <a:pt x="270" y="2525"/>
                  </a:lnTo>
                  <a:lnTo>
                    <a:pt x="203" y="2593"/>
                  </a:lnTo>
                  <a:lnTo>
                    <a:pt x="169" y="2559"/>
                  </a:lnTo>
                  <a:lnTo>
                    <a:pt x="1" y="2559"/>
                  </a:lnTo>
                  <a:lnTo>
                    <a:pt x="1" y="2593"/>
                  </a:lnTo>
                  <a:lnTo>
                    <a:pt x="1" y="2626"/>
                  </a:lnTo>
                  <a:lnTo>
                    <a:pt x="34" y="2694"/>
                  </a:lnTo>
                  <a:lnTo>
                    <a:pt x="68" y="2727"/>
                  </a:lnTo>
                  <a:lnTo>
                    <a:pt x="708" y="2660"/>
                  </a:lnTo>
                  <a:lnTo>
                    <a:pt x="1314" y="2559"/>
                  </a:lnTo>
                  <a:lnTo>
                    <a:pt x="1920" y="2424"/>
                  </a:lnTo>
                  <a:lnTo>
                    <a:pt x="2526" y="2290"/>
                  </a:lnTo>
                  <a:lnTo>
                    <a:pt x="3738" y="1919"/>
                  </a:lnTo>
                  <a:lnTo>
                    <a:pt x="4950" y="1549"/>
                  </a:lnTo>
                  <a:lnTo>
                    <a:pt x="5489" y="1414"/>
                  </a:lnTo>
                  <a:lnTo>
                    <a:pt x="6027" y="1212"/>
                  </a:lnTo>
                  <a:lnTo>
                    <a:pt x="7138" y="808"/>
                  </a:lnTo>
                  <a:lnTo>
                    <a:pt x="7677" y="640"/>
                  </a:lnTo>
                  <a:lnTo>
                    <a:pt x="8249" y="471"/>
                  </a:lnTo>
                  <a:lnTo>
                    <a:pt x="8822" y="370"/>
                  </a:lnTo>
                  <a:lnTo>
                    <a:pt x="9360" y="337"/>
                  </a:lnTo>
                  <a:lnTo>
                    <a:pt x="9428" y="303"/>
                  </a:lnTo>
                  <a:lnTo>
                    <a:pt x="9495" y="269"/>
                  </a:lnTo>
                  <a:lnTo>
                    <a:pt x="9495" y="236"/>
                  </a:lnTo>
                  <a:lnTo>
                    <a:pt x="9529" y="168"/>
                  </a:lnTo>
                  <a:lnTo>
                    <a:pt x="9495" y="101"/>
                  </a:lnTo>
                  <a:lnTo>
                    <a:pt x="9495" y="67"/>
                  </a:lnTo>
                  <a:lnTo>
                    <a:pt x="9428" y="34"/>
                  </a:lnTo>
                  <a:lnTo>
                    <a:pt x="9360"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00" name="Google Shape;1800;p12"/>
            <p:cNvSpPr/>
            <p:nvPr/>
          </p:nvSpPr>
          <p:spPr>
            <a:xfrm>
              <a:off x="5691054" y="2422510"/>
              <a:ext cx="236260" cy="217800"/>
            </a:xfrm>
            <a:custGeom>
              <a:avLst/>
              <a:gdLst/>
              <a:ahLst/>
              <a:cxnLst/>
              <a:rect l="l" t="t" r="r" b="b"/>
              <a:pathLst>
                <a:path w="4748" h="4377" extrusionOk="0">
                  <a:moveTo>
                    <a:pt x="606" y="202"/>
                  </a:moveTo>
                  <a:lnTo>
                    <a:pt x="674" y="269"/>
                  </a:lnTo>
                  <a:lnTo>
                    <a:pt x="775" y="370"/>
                  </a:lnTo>
                  <a:lnTo>
                    <a:pt x="943" y="539"/>
                  </a:lnTo>
                  <a:lnTo>
                    <a:pt x="1482" y="1077"/>
                  </a:lnTo>
                  <a:lnTo>
                    <a:pt x="1987" y="1650"/>
                  </a:lnTo>
                  <a:lnTo>
                    <a:pt x="2559" y="2256"/>
                  </a:lnTo>
                  <a:lnTo>
                    <a:pt x="3165" y="2794"/>
                  </a:lnTo>
                  <a:lnTo>
                    <a:pt x="3333" y="2895"/>
                  </a:lnTo>
                  <a:lnTo>
                    <a:pt x="3502" y="3030"/>
                  </a:lnTo>
                  <a:lnTo>
                    <a:pt x="3872" y="3232"/>
                  </a:lnTo>
                  <a:lnTo>
                    <a:pt x="4040" y="3333"/>
                  </a:lnTo>
                  <a:lnTo>
                    <a:pt x="4209" y="3468"/>
                  </a:lnTo>
                  <a:lnTo>
                    <a:pt x="4310" y="3636"/>
                  </a:lnTo>
                  <a:lnTo>
                    <a:pt x="4377" y="3805"/>
                  </a:lnTo>
                  <a:lnTo>
                    <a:pt x="4243" y="3838"/>
                  </a:lnTo>
                  <a:lnTo>
                    <a:pt x="4141" y="3805"/>
                  </a:lnTo>
                  <a:lnTo>
                    <a:pt x="4007" y="3737"/>
                  </a:lnTo>
                  <a:lnTo>
                    <a:pt x="3906" y="3636"/>
                  </a:lnTo>
                  <a:lnTo>
                    <a:pt x="3805" y="3501"/>
                  </a:lnTo>
                  <a:lnTo>
                    <a:pt x="3704" y="3400"/>
                  </a:lnTo>
                  <a:lnTo>
                    <a:pt x="3468" y="3198"/>
                  </a:lnTo>
                  <a:lnTo>
                    <a:pt x="3199" y="2996"/>
                  </a:lnTo>
                  <a:lnTo>
                    <a:pt x="2929" y="2828"/>
                  </a:lnTo>
                  <a:lnTo>
                    <a:pt x="2357" y="2525"/>
                  </a:lnTo>
                  <a:lnTo>
                    <a:pt x="2020" y="2289"/>
                  </a:lnTo>
                  <a:lnTo>
                    <a:pt x="1684" y="2020"/>
                  </a:lnTo>
                  <a:lnTo>
                    <a:pt x="1381" y="1751"/>
                  </a:lnTo>
                  <a:lnTo>
                    <a:pt x="1078" y="1448"/>
                  </a:lnTo>
                  <a:lnTo>
                    <a:pt x="640" y="943"/>
                  </a:lnTo>
                  <a:lnTo>
                    <a:pt x="404" y="707"/>
                  </a:lnTo>
                  <a:lnTo>
                    <a:pt x="169" y="505"/>
                  </a:lnTo>
                  <a:lnTo>
                    <a:pt x="202" y="471"/>
                  </a:lnTo>
                  <a:lnTo>
                    <a:pt x="337" y="337"/>
                  </a:lnTo>
                  <a:lnTo>
                    <a:pt x="472" y="269"/>
                  </a:lnTo>
                  <a:lnTo>
                    <a:pt x="606" y="202"/>
                  </a:lnTo>
                  <a:close/>
                  <a:moveTo>
                    <a:pt x="505" y="0"/>
                  </a:moveTo>
                  <a:lnTo>
                    <a:pt x="371" y="67"/>
                  </a:lnTo>
                  <a:lnTo>
                    <a:pt x="169" y="202"/>
                  </a:lnTo>
                  <a:lnTo>
                    <a:pt x="34" y="370"/>
                  </a:lnTo>
                  <a:lnTo>
                    <a:pt x="0" y="404"/>
                  </a:lnTo>
                  <a:lnTo>
                    <a:pt x="0" y="471"/>
                  </a:lnTo>
                  <a:lnTo>
                    <a:pt x="34" y="505"/>
                  </a:lnTo>
                  <a:lnTo>
                    <a:pt x="68" y="539"/>
                  </a:lnTo>
                  <a:lnTo>
                    <a:pt x="135" y="505"/>
                  </a:lnTo>
                  <a:lnTo>
                    <a:pt x="303" y="707"/>
                  </a:lnTo>
                  <a:lnTo>
                    <a:pt x="505" y="943"/>
                  </a:lnTo>
                  <a:lnTo>
                    <a:pt x="808" y="1414"/>
                  </a:lnTo>
                  <a:lnTo>
                    <a:pt x="1246" y="1885"/>
                  </a:lnTo>
                  <a:lnTo>
                    <a:pt x="1717" y="2323"/>
                  </a:lnTo>
                  <a:lnTo>
                    <a:pt x="2020" y="2525"/>
                  </a:lnTo>
                  <a:lnTo>
                    <a:pt x="2323" y="2727"/>
                  </a:lnTo>
                  <a:lnTo>
                    <a:pt x="2929" y="3097"/>
                  </a:lnTo>
                  <a:lnTo>
                    <a:pt x="3199" y="3299"/>
                  </a:lnTo>
                  <a:lnTo>
                    <a:pt x="3468" y="3501"/>
                  </a:lnTo>
                  <a:lnTo>
                    <a:pt x="3737" y="3771"/>
                  </a:lnTo>
                  <a:lnTo>
                    <a:pt x="3939" y="4074"/>
                  </a:lnTo>
                  <a:lnTo>
                    <a:pt x="4040" y="4209"/>
                  </a:lnTo>
                  <a:lnTo>
                    <a:pt x="4141" y="4276"/>
                  </a:lnTo>
                  <a:lnTo>
                    <a:pt x="4243" y="4343"/>
                  </a:lnTo>
                  <a:lnTo>
                    <a:pt x="4344" y="4377"/>
                  </a:lnTo>
                  <a:lnTo>
                    <a:pt x="4411" y="4377"/>
                  </a:lnTo>
                  <a:lnTo>
                    <a:pt x="4512" y="4343"/>
                  </a:lnTo>
                  <a:lnTo>
                    <a:pt x="4647" y="4209"/>
                  </a:lnTo>
                  <a:lnTo>
                    <a:pt x="4748" y="4074"/>
                  </a:lnTo>
                  <a:lnTo>
                    <a:pt x="4748" y="3872"/>
                  </a:lnTo>
                  <a:lnTo>
                    <a:pt x="4748" y="3805"/>
                  </a:lnTo>
                  <a:lnTo>
                    <a:pt x="4680" y="3704"/>
                  </a:lnTo>
                  <a:lnTo>
                    <a:pt x="4613" y="3636"/>
                  </a:lnTo>
                  <a:lnTo>
                    <a:pt x="4512" y="3569"/>
                  </a:lnTo>
                  <a:lnTo>
                    <a:pt x="4445" y="3434"/>
                  </a:lnTo>
                  <a:lnTo>
                    <a:pt x="4310" y="3266"/>
                  </a:lnTo>
                  <a:lnTo>
                    <a:pt x="4209" y="3165"/>
                  </a:lnTo>
                  <a:lnTo>
                    <a:pt x="4074" y="3097"/>
                  </a:lnTo>
                  <a:lnTo>
                    <a:pt x="3771" y="2963"/>
                  </a:lnTo>
                  <a:lnTo>
                    <a:pt x="3535" y="2828"/>
                  </a:lnTo>
                  <a:lnTo>
                    <a:pt x="3300" y="2660"/>
                  </a:lnTo>
                  <a:lnTo>
                    <a:pt x="2828" y="2256"/>
                  </a:lnTo>
                  <a:lnTo>
                    <a:pt x="2189" y="1582"/>
                  </a:lnTo>
                  <a:lnTo>
                    <a:pt x="1549" y="875"/>
                  </a:lnTo>
                  <a:lnTo>
                    <a:pt x="1111" y="471"/>
                  </a:lnTo>
                  <a:lnTo>
                    <a:pt x="909" y="269"/>
                  </a:lnTo>
                  <a:lnTo>
                    <a:pt x="674" y="101"/>
                  </a:lnTo>
                  <a:lnTo>
                    <a:pt x="640" y="34"/>
                  </a:lnTo>
                  <a:lnTo>
                    <a:pt x="606"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01" name="Google Shape;1801;p12"/>
            <p:cNvSpPr/>
            <p:nvPr/>
          </p:nvSpPr>
          <p:spPr>
            <a:xfrm>
              <a:off x="6800105" y="2340406"/>
              <a:ext cx="62051" cy="30204"/>
            </a:xfrm>
            <a:custGeom>
              <a:avLst/>
              <a:gdLst/>
              <a:ahLst/>
              <a:cxnLst/>
              <a:rect l="l" t="t" r="r" b="b"/>
              <a:pathLst>
                <a:path w="1247" h="607" extrusionOk="0">
                  <a:moveTo>
                    <a:pt x="1246" y="0"/>
                  </a:moveTo>
                  <a:lnTo>
                    <a:pt x="607" y="202"/>
                  </a:lnTo>
                  <a:lnTo>
                    <a:pt x="304" y="337"/>
                  </a:lnTo>
                  <a:lnTo>
                    <a:pt x="1" y="505"/>
                  </a:lnTo>
                  <a:lnTo>
                    <a:pt x="1" y="539"/>
                  </a:lnTo>
                  <a:lnTo>
                    <a:pt x="1" y="573"/>
                  </a:lnTo>
                  <a:lnTo>
                    <a:pt x="1" y="606"/>
                  </a:lnTo>
                  <a:lnTo>
                    <a:pt x="34" y="606"/>
                  </a:lnTo>
                  <a:lnTo>
                    <a:pt x="1246" y="303"/>
                  </a:lnTo>
                  <a:lnTo>
                    <a:pt x="1246"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02" name="Google Shape;1802;p12"/>
            <p:cNvSpPr/>
            <p:nvPr/>
          </p:nvSpPr>
          <p:spPr>
            <a:xfrm>
              <a:off x="5654182" y="1903115"/>
              <a:ext cx="1207974" cy="1445876"/>
            </a:xfrm>
            <a:custGeom>
              <a:avLst/>
              <a:gdLst/>
              <a:ahLst/>
              <a:cxnLst/>
              <a:rect l="l" t="t" r="r" b="b"/>
              <a:pathLst>
                <a:path w="24276" h="29057" extrusionOk="0">
                  <a:moveTo>
                    <a:pt x="236" y="10909"/>
                  </a:moveTo>
                  <a:lnTo>
                    <a:pt x="203" y="10943"/>
                  </a:lnTo>
                  <a:lnTo>
                    <a:pt x="203" y="10909"/>
                  </a:lnTo>
                  <a:close/>
                  <a:moveTo>
                    <a:pt x="1246" y="9933"/>
                  </a:moveTo>
                  <a:lnTo>
                    <a:pt x="1650" y="10202"/>
                  </a:lnTo>
                  <a:lnTo>
                    <a:pt x="1987" y="10472"/>
                  </a:lnTo>
                  <a:lnTo>
                    <a:pt x="2660" y="11078"/>
                  </a:lnTo>
                  <a:lnTo>
                    <a:pt x="3064" y="11448"/>
                  </a:lnTo>
                  <a:lnTo>
                    <a:pt x="3468" y="11785"/>
                  </a:lnTo>
                  <a:lnTo>
                    <a:pt x="3872" y="12121"/>
                  </a:lnTo>
                  <a:lnTo>
                    <a:pt x="4243" y="12458"/>
                  </a:lnTo>
                  <a:lnTo>
                    <a:pt x="4916" y="13131"/>
                  </a:lnTo>
                  <a:lnTo>
                    <a:pt x="5556" y="13838"/>
                  </a:lnTo>
                  <a:lnTo>
                    <a:pt x="5724" y="14007"/>
                  </a:lnTo>
                  <a:lnTo>
                    <a:pt x="5724" y="14074"/>
                  </a:lnTo>
                  <a:lnTo>
                    <a:pt x="5792" y="14142"/>
                  </a:lnTo>
                  <a:lnTo>
                    <a:pt x="5859" y="14142"/>
                  </a:lnTo>
                  <a:lnTo>
                    <a:pt x="6364" y="14613"/>
                  </a:lnTo>
                  <a:lnTo>
                    <a:pt x="6600" y="14882"/>
                  </a:lnTo>
                  <a:lnTo>
                    <a:pt x="6835" y="15118"/>
                  </a:lnTo>
                  <a:lnTo>
                    <a:pt x="6734" y="15253"/>
                  </a:lnTo>
                  <a:lnTo>
                    <a:pt x="6633" y="15387"/>
                  </a:lnTo>
                  <a:lnTo>
                    <a:pt x="6465" y="15623"/>
                  </a:lnTo>
                  <a:lnTo>
                    <a:pt x="6162" y="15960"/>
                  </a:lnTo>
                  <a:lnTo>
                    <a:pt x="6027" y="16162"/>
                  </a:lnTo>
                  <a:lnTo>
                    <a:pt x="5893" y="16330"/>
                  </a:lnTo>
                  <a:lnTo>
                    <a:pt x="5590" y="15960"/>
                  </a:lnTo>
                  <a:lnTo>
                    <a:pt x="5287" y="15657"/>
                  </a:lnTo>
                  <a:lnTo>
                    <a:pt x="4950" y="15320"/>
                  </a:lnTo>
                  <a:lnTo>
                    <a:pt x="4613" y="15017"/>
                  </a:lnTo>
                  <a:lnTo>
                    <a:pt x="3738" y="14209"/>
                  </a:lnTo>
                  <a:lnTo>
                    <a:pt x="3300" y="13838"/>
                  </a:lnTo>
                  <a:lnTo>
                    <a:pt x="2829" y="13502"/>
                  </a:lnTo>
                  <a:lnTo>
                    <a:pt x="2391" y="13165"/>
                  </a:lnTo>
                  <a:lnTo>
                    <a:pt x="1953" y="12761"/>
                  </a:lnTo>
                  <a:lnTo>
                    <a:pt x="1583" y="12323"/>
                  </a:lnTo>
                  <a:lnTo>
                    <a:pt x="1213" y="11886"/>
                  </a:lnTo>
                  <a:lnTo>
                    <a:pt x="1044" y="11684"/>
                  </a:lnTo>
                  <a:lnTo>
                    <a:pt x="708" y="11313"/>
                  </a:lnTo>
                  <a:lnTo>
                    <a:pt x="405" y="11010"/>
                  </a:lnTo>
                  <a:lnTo>
                    <a:pt x="270" y="10943"/>
                  </a:lnTo>
                  <a:lnTo>
                    <a:pt x="236" y="10909"/>
                  </a:lnTo>
                  <a:lnTo>
                    <a:pt x="270" y="10909"/>
                  </a:lnTo>
                  <a:lnTo>
                    <a:pt x="304" y="10876"/>
                  </a:lnTo>
                  <a:lnTo>
                    <a:pt x="438" y="10775"/>
                  </a:lnTo>
                  <a:lnTo>
                    <a:pt x="607" y="10505"/>
                  </a:lnTo>
                  <a:lnTo>
                    <a:pt x="910" y="10202"/>
                  </a:lnTo>
                  <a:lnTo>
                    <a:pt x="1044" y="10068"/>
                  </a:lnTo>
                  <a:lnTo>
                    <a:pt x="1246" y="9933"/>
                  </a:lnTo>
                  <a:close/>
                  <a:moveTo>
                    <a:pt x="17003" y="3098"/>
                  </a:moveTo>
                  <a:lnTo>
                    <a:pt x="17138" y="3502"/>
                  </a:lnTo>
                  <a:lnTo>
                    <a:pt x="17272" y="3906"/>
                  </a:lnTo>
                  <a:lnTo>
                    <a:pt x="17609" y="4681"/>
                  </a:lnTo>
                  <a:lnTo>
                    <a:pt x="17744" y="4984"/>
                  </a:lnTo>
                  <a:lnTo>
                    <a:pt x="17845" y="5320"/>
                  </a:lnTo>
                  <a:lnTo>
                    <a:pt x="18013" y="5960"/>
                  </a:lnTo>
                  <a:lnTo>
                    <a:pt x="18249" y="7307"/>
                  </a:lnTo>
                  <a:lnTo>
                    <a:pt x="18518" y="8721"/>
                  </a:lnTo>
                  <a:lnTo>
                    <a:pt x="18282" y="8755"/>
                  </a:lnTo>
                  <a:lnTo>
                    <a:pt x="18047" y="8788"/>
                  </a:lnTo>
                  <a:lnTo>
                    <a:pt x="17575" y="8923"/>
                  </a:lnTo>
                  <a:lnTo>
                    <a:pt x="16700" y="9260"/>
                  </a:lnTo>
                  <a:lnTo>
                    <a:pt x="15959" y="9495"/>
                  </a:lnTo>
                  <a:lnTo>
                    <a:pt x="15219" y="9697"/>
                  </a:lnTo>
                  <a:lnTo>
                    <a:pt x="13670" y="10034"/>
                  </a:lnTo>
                  <a:lnTo>
                    <a:pt x="12895" y="10202"/>
                  </a:lnTo>
                  <a:lnTo>
                    <a:pt x="12087" y="10404"/>
                  </a:lnTo>
                  <a:lnTo>
                    <a:pt x="10539" y="10876"/>
                  </a:lnTo>
                  <a:lnTo>
                    <a:pt x="9933" y="11044"/>
                  </a:lnTo>
                  <a:lnTo>
                    <a:pt x="9293" y="11179"/>
                  </a:lnTo>
                  <a:lnTo>
                    <a:pt x="8956" y="11280"/>
                  </a:lnTo>
                  <a:lnTo>
                    <a:pt x="8653" y="11381"/>
                  </a:lnTo>
                  <a:lnTo>
                    <a:pt x="8384" y="11482"/>
                  </a:lnTo>
                  <a:lnTo>
                    <a:pt x="8115" y="11650"/>
                  </a:lnTo>
                  <a:lnTo>
                    <a:pt x="8081" y="11684"/>
                  </a:lnTo>
                  <a:lnTo>
                    <a:pt x="8081" y="11751"/>
                  </a:lnTo>
                  <a:lnTo>
                    <a:pt x="8115" y="11818"/>
                  </a:lnTo>
                  <a:lnTo>
                    <a:pt x="8182" y="11818"/>
                  </a:lnTo>
                  <a:lnTo>
                    <a:pt x="8788" y="11616"/>
                  </a:lnTo>
                  <a:lnTo>
                    <a:pt x="9394" y="11482"/>
                  </a:lnTo>
                  <a:lnTo>
                    <a:pt x="10000" y="11347"/>
                  </a:lnTo>
                  <a:lnTo>
                    <a:pt x="10606" y="11179"/>
                  </a:lnTo>
                  <a:lnTo>
                    <a:pt x="12054" y="10741"/>
                  </a:lnTo>
                  <a:lnTo>
                    <a:pt x="13502" y="10371"/>
                  </a:lnTo>
                  <a:lnTo>
                    <a:pt x="14983" y="10068"/>
                  </a:lnTo>
                  <a:lnTo>
                    <a:pt x="15690" y="9899"/>
                  </a:lnTo>
                  <a:lnTo>
                    <a:pt x="16397" y="9697"/>
                  </a:lnTo>
                  <a:lnTo>
                    <a:pt x="16936" y="9495"/>
                  </a:lnTo>
                  <a:lnTo>
                    <a:pt x="17474" y="9293"/>
                  </a:lnTo>
                  <a:lnTo>
                    <a:pt x="18013" y="9125"/>
                  </a:lnTo>
                  <a:lnTo>
                    <a:pt x="18282" y="9058"/>
                  </a:lnTo>
                  <a:lnTo>
                    <a:pt x="18585" y="9024"/>
                  </a:lnTo>
                  <a:lnTo>
                    <a:pt x="18686" y="9529"/>
                  </a:lnTo>
                  <a:lnTo>
                    <a:pt x="18484" y="9529"/>
                  </a:lnTo>
                  <a:lnTo>
                    <a:pt x="18249" y="9563"/>
                  </a:lnTo>
                  <a:lnTo>
                    <a:pt x="17845" y="9664"/>
                  </a:lnTo>
                  <a:lnTo>
                    <a:pt x="17037" y="9967"/>
                  </a:lnTo>
                  <a:lnTo>
                    <a:pt x="16363" y="10202"/>
                  </a:lnTo>
                  <a:lnTo>
                    <a:pt x="15656" y="10404"/>
                  </a:lnTo>
                  <a:lnTo>
                    <a:pt x="14276" y="10775"/>
                  </a:lnTo>
                  <a:lnTo>
                    <a:pt x="11313" y="11583"/>
                  </a:lnTo>
                  <a:lnTo>
                    <a:pt x="9832" y="11953"/>
                  </a:lnTo>
                  <a:lnTo>
                    <a:pt x="8350" y="12323"/>
                  </a:lnTo>
                  <a:lnTo>
                    <a:pt x="8283" y="12357"/>
                  </a:lnTo>
                  <a:lnTo>
                    <a:pt x="8283" y="12458"/>
                  </a:lnTo>
                  <a:lnTo>
                    <a:pt x="8317" y="12525"/>
                  </a:lnTo>
                  <a:lnTo>
                    <a:pt x="8384" y="12559"/>
                  </a:lnTo>
                  <a:lnTo>
                    <a:pt x="9091" y="12458"/>
                  </a:lnTo>
                  <a:lnTo>
                    <a:pt x="9764" y="12357"/>
                  </a:lnTo>
                  <a:lnTo>
                    <a:pt x="10471" y="12189"/>
                  </a:lnTo>
                  <a:lnTo>
                    <a:pt x="11145" y="12020"/>
                  </a:lnTo>
                  <a:lnTo>
                    <a:pt x="12525" y="11616"/>
                  </a:lnTo>
                  <a:lnTo>
                    <a:pt x="13872" y="11212"/>
                  </a:lnTo>
                  <a:lnTo>
                    <a:pt x="15320" y="10808"/>
                  </a:lnTo>
                  <a:lnTo>
                    <a:pt x="16767" y="10371"/>
                  </a:lnTo>
                  <a:lnTo>
                    <a:pt x="17744" y="10068"/>
                  </a:lnTo>
                  <a:lnTo>
                    <a:pt x="18249" y="9933"/>
                  </a:lnTo>
                  <a:lnTo>
                    <a:pt x="18754" y="9832"/>
                  </a:lnTo>
                  <a:lnTo>
                    <a:pt x="18855" y="10371"/>
                  </a:lnTo>
                  <a:lnTo>
                    <a:pt x="17542" y="10775"/>
                  </a:lnTo>
                  <a:lnTo>
                    <a:pt x="16229" y="11179"/>
                  </a:lnTo>
                  <a:lnTo>
                    <a:pt x="14882" y="11515"/>
                  </a:lnTo>
                  <a:lnTo>
                    <a:pt x="13569" y="11818"/>
                  </a:lnTo>
                  <a:lnTo>
                    <a:pt x="12256" y="12121"/>
                  </a:lnTo>
                  <a:lnTo>
                    <a:pt x="10976" y="12458"/>
                  </a:lnTo>
                  <a:lnTo>
                    <a:pt x="9731" y="12761"/>
                  </a:lnTo>
                  <a:lnTo>
                    <a:pt x="9428" y="12862"/>
                  </a:lnTo>
                  <a:lnTo>
                    <a:pt x="9125" y="12963"/>
                  </a:lnTo>
                  <a:lnTo>
                    <a:pt x="8923" y="13098"/>
                  </a:lnTo>
                  <a:lnTo>
                    <a:pt x="8788" y="13131"/>
                  </a:lnTo>
                  <a:lnTo>
                    <a:pt x="8721" y="13165"/>
                  </a:lnTo>
                  <a:lnTo>
                    <a:pt x="8653" y="13199"/>
                  </a:lnTo>
                  <a:lnTo>
                    <a:pt x="8620" y="13232"/>
                  </a:lnTo>
                  <a:lnTo>
                    <a:pt x="8620" y="13300"/>
                  </a:lnTo>
                  <a:lnTo>
                    <a:pt x="8687" y="13333"/>
                  </a:lnTo>
                  <a:lnTo>
                    <a:pt x="8754" y="13401"/>
                  </a:lnTo>
                  <a:lnTo>
                    <a:pt x="8855" y="13401"/>
                  </a:lnTo>
                  <a:lnTo>
                    <a:pt x="9024" y="13300"/>
                  </a:lnTo>
                  <a:lnTo>
                    <a:pt x="9394" y="13165"/>
                  </a:lnTo>
                  <a:lnTo>
                    <a:pt x="9731" y="13064"/>
                  </a:lnTo>
                  <a:lnTo>
                    <a:pt x="10438" y="12896"/>
                  </a:lnTo>
                  <a:lnTo>
                    <a:pt x="11784" y="12525"/>
                  </a:lnTo>
                  <a:lnTo>
                    <a:pt x="12458" y="12357"/>
                  </a:lnTo>
                  <a:lnTo>
                    <a:pt x="13165" y="12222"/>
                  </a:lnTo>
                  <a:lnTo>
                    <a:pt x="14613" y="11886"/>
                  </a:lnTo>
                  <a:lnTo>
                    <a:pt x="16060" y="11515"/>
                  </a:lnTo>
                  <a:lnTo>
                    <a:pt x="17508" y="11111"/>
                  </a:lnTo>
                  <a:lnTo>
                    <a:pt x="18922" y="10674"/>
                  </a:lnTo>
                  <a:lnTo>
                    <a:pt x="19023" y="11078"/>
                  </a:lnTo>
                  <a:lnTo>
                    <a:pt x="17676" y="11414"/>
                  </a:lnTo>
                  <a:lnTo>
                    <a:pt x="16330" y="11785"/>
                  </a:lnTo>
                  <a:lnTo>
                    <a:pt x="14983" y="12155"/>
                  </a:lnTo>
                  <a:lnTo>
                    <a:pt x="13636" y="12424"/>
                  </a:lnTo>
                  <a:lnTo>
                    <a:pt x="12996" y="12593"/>
                  </a:lnTo>
                  <a:lnTo>
                    <a:pt x="12390" y="12761"/>
                  </a:lnTo>
                  <a:lnTo>
                    <a:pt x="11212" y="13165"/>
                  </a:lnTo>
                  <a:lnTo>
                    <a:pt x="10640" y="13300"/>
                  </a:lnTo>
                  <a:lnTo>
                    <a:pt x="10034" y="13434"/>
                  </a:lnTo>
                  <a:lnTo>
                    <a:pt x="9461" y="13569"/>
                  </a:lnTo>
                  <a:lnTo>
                    <a:pt x="9192" y="13670"/>
                  </a:lnTo>
                  <a:lnTo>
                    <a:pt x="8923" y="13805"/>
                  </a:lnTo>
                  <a:lnTo>
                    <a:pt x="8923" y="13838"/>
                  </a:lnTo>
                  <a:lnTo>
                    <a:pt x="8923" y="13906"/>
                  </a:lnTo>
                  <a:lnTo>
                    <a:pt x="8923" y="13939"/>
                  </a:lnTo>
                  <a:lnTo>
                    <a:pt x="8990" y="13939"/>
                  </a:lnTo>
                  <a:lnTo>
                    <a:pt x="9596" y="13838"/>
                  </a:lnTo>
                  <a:lnTo>
                    <a:pt x="10168" y="13704"/>
                  </a:lnTo>
                  <a:lnTo>
                    <a:pt x="11347" y="13367"/>
                  </a:lnTo>
                  <a:lnTo>
                    <a:pt x="12525" y="12997"/>
                  </a:lnTo>
                  <a:lnTo>
                    <a:pt x="13097" y="12828"/>
                  </a:lnTo>
                  <a:lnTo>
                    <a:pt x="13704" y="12694"/>
                  </a:lnTo>
                  <a:lnTo>
                    <a:pt x="15050" y="12424"/>
                  </a:lnTo>
                  <a:lnTo>
                    <a:pt x="15724" y="12256"/>
                  </a:lnTo>
                  <a:lnTo>
                    <a:pt x="16397" y="12088"/>
                  </a:lnTo>
                  <a:lnTo>
                    <a:pt x="17744" y="11717"/>
                  </a:lnTo>
                  <a:lnTo>
                    <a:pt x="19090" y="11347"/>
                  </a:lnTo>
                  <a:lnTo>
                    <a:pt x="19225" y="11818"/>
                  </a:lnTo>
                  <a:lnTo>
                    <a:pt x="19191" y="11818"/>
                  </a:lnTo>
                  <a:lnTo>
                    <a:pt x="18484" y="11919"/>
                  </a:lnTo>
                  <a:lnTo>
                    <a:pt x="17811" y="12088"/>
                  </a:lnTo>
                  <a:lnTo>
                    <a:pt x="17138" y="12256"/>
                  </a:lnTo>
                  <a:lnTo>
                    <a:pt x="16431" y="12458"/>
                  </a:lnTo>
                  <a:lnTo>
                    <a:pt x="15084" y="12929"/>
                  </a:lnTo>
                  <a:lnTo>
                    <a:pt x="14411" y="13131"/>
                  </a:lnTo>
                  <a:lnTo>
                    <a:pt x="13737" y="13333"/>
                  </a:lnTo>
                  <a:lnTo>
                    <a:pt x="11010" y="14007"/>
                  </a:lnTo>
                  <a:lnTo>
                    <a:pt x="10471" y="14142"/>
                  </a:lnTo>
                  <a:lnTo>
                    <a:pt x="9865" y="14276"/>
                  </a:lnTo>
                  <a:lnTo>
                    <a:pt x="9562" y="14377"/>
                  </a:lnTo>
                  <a:lnTo>
                    <a:pt x="9293" y="14478"/>
                  </a:lnTo>
                  <a:lnTo>
                    <a:pt x="9057" y="14613"/>
                  </a:lnTo>
                  <a:lnTo>
                    <a:pt x="8855" y="14781"/>
                  </a:lnTo>
                  <a:lnTo>
                    <a:pt x="8855" y="14815"/>
                  </a:lnTo>
                  <a:lnTo>
                    <a:pt x="8889" y="14849"/>
                  </a:lnTo>
                  <a:lnTo>
                    <a:pt x="9125" y="14849"/>
                  </a:lnTo>
                  <a:lnTo>
                    <a:pt x="9428" y="14815"/>
                  </a:lnTo>
                  <a:lnTo>
                    <a:pt x="9697" y="14748"/>
                  </a:lnTo>
                  <a:lnTo>
                    <a:pt x="10000" y="14647"/>
                  </a:lnTo>
                  <a:lnTo>
                    <a:pt x="10539" y="14478"/>
                  </a:lnTo>
                  <a:lnTo>
                    <a:pt x="11077" y="14310"/>
                  </a:lnTo>
                  <a:lnTo>
                    <a:pt x="13603" y="13670"/>
                  </a:lnTo>
                  <a:lnTo>
                    <a:pt x="14310" y="13468"/>
                  </a:lnTo>
                  <a:lnTo>
                    <a:pt x="14983" y="13266"/>
                  </a:lnTo>
                  <a:lnTo>
                    <a:pt x="16363" y="12828"/>
                  </a:lnTo>
                  <a:lnTo>
                    <a:pt x="17070" y="12593"/>
                  </a:lnTo>
                  <a:lnTo>
                    <a:pt x="17777" y="12424"/>
                  </a:lnTo>
                  <a:lnTo>
                    <a:pt x="18484" y="12256"/>
                  </a:lnTo>
                  <a:lnTo>
                    <a:pt x="19191" y="12155"/>
                  </a:lnTo>
                  <a:lnTo>
                    <a:pt x="19292" y="12121"/>
                  </a:lnTo>
                  <a:lnTo>
                    <a:pt x="19427" y="12660"/>
                  </a:lnTo>
                  <a:lnTo>
                    <a:pt x="19158" y="12660"/>
                  </a:lnTo>
                  <a:lnTo>
                    <a:pt x="18888" y="12727"/>
                  </a:lnTo>
                  <a:lnTo>
                    <a:pt x="18215" y="12929"/>
                  </a:lnTo>
                  <a:lnTo>
                    <a:pt x="17542" y="13131"/>
                  </a:lnTo>
                  <a:lnTo>
                    <a:pt x="16633" y="13401"/>
                  </a:lnTo>
                  <a:lnTo>
                    <a:pt x="15757" y="13670"/>
                  </a:lnTo>
                  <a:lnTo>
                    <a:pt x="14848" y="13939"/>
                  </a:lnTo>
                  <a:lnTo>
                    <a:pt x="13973" y="14209"/>
                  </a:lnTo>
                  <a:lnTo>
                    <a:pt x="11549" y="14849"/>
                  </a:lnTo>
                  <a:lnTo>
                    <a:pt x="10269" y="15152"/>
                  </a:lnTo>
                  <a:lnTo>
                    <a:pt x="9933" y="15253"/>
                  </a:lnTo>
                  <a:lnTo>
                    <a:pt x="9731" y="15286"/>
                  </a:lnTo>
                  <a:lnTo>
                    <a:pt x="9529" y="15286"/>
                  </a:lnTo>
                  <a:lnTo>
                    <a:pt x="9495" y="15320"/>
                  </a:lnTo>
                  <a:lnTo>
                    <a:pt x="9495" y="15354"/>
                  </a:lnTo>
                  <a:lnTo>
                    <a:pt x="9495" y="15387"/>
                  </a:lnTo>
                  <a:lnTo>
                    <a:pt x="9630" y="15455"/>
                  </a:lnTo>
                  <a:lnTo>
                    <a:pt x="9764" y="15488"/>
                  </a:lnTo>
                  <a:lnTo>
                    <a:pt x="9933" y="15488"/>
                  </a:lnTo>
                  <a:lnTo>
                    <a:pt x="10101" y="15455"/>
                  </a:lnTo>
                  <a:lnTo>
                    <a:pt x="10438" y="15387"/>
                  </a:lnTo>
                  <a:lnTo>
                    <a:pt x="10707" y="15320"/>
                  </a:lnTo>
                  <a:lnTo>
                    <a:pt x="12054" y="14983"/>
                  </a:lnTo>
                  <a:lnTo>
                    <a:pt x="13401" y="14647"/>
                  </a:lnTo>
                  <a:lnTo>
                    <a:pt x="14882" y="14243"/>
                  </a:lnTo>
                  <a:lnTo>
                    <a:pt x="15623" y="14040"/>
                  </a:lnTo>
                  <a:lnTo>
                    <a:pt x="16330" y="13805"/>
                  </a:lnTo>
                  <a:lnTo>
                    <a:pt x="18114" y="13266"/>
                  </a:lnTo>
                  <a:lnTo>
                    <a:pt x="18754" y="13030"/>
                  </a:lnTo>
                  <a:lnTo>
                    <a:pt x="19090" y="12929"/>
                  </a:lnTo>
                  <a:lnTo>
                    <a:pt x="19494" y="12929"/>
                  </a:lnTo>
                  <a:lnTo>
                    <a:pt x="19999" y="14882"/>
                  </a:lnTo>
                  <a:lnTo>
                    <a:pt x="17508" y="15623"/>
                  </a:lnTo>
                  <a:lnTo>
                    <a:pt x="15017" y="16364"/>
                  </a:lnTo>
                  <a:lnTo>
                    <a:pt x="12559" y="17003"/>
                  </a:lnTo>
                  <a:lnTo>
                    <a:pt x="11885" y="17172"/>
                  </a:lnTo>
                  <a:lnTo>
                    <a:pt x="11212" y="17306"/>
                  </a:lnTo>
                  <a:lnTo>
                    <a:pt x="10539" y="17475"/>
                  </a:lnTo>
                  <a:lnTo>
                    <a:pt x="9899" y="17677"/>
                  </a:lnTo>
                  <a:lnTo>
                    <a:pt x="9865" y="17710"/>
                  </a:lnTo>
                  <a:lnTo>
                    <a:pt x="9865" y="17744"/>
                  </a:lnTo>
                  <a:lnTo>
                    <a:pt x="9865" y="17778"/>
                  </a:lnTo>
                  <a:lnTo>
                    <a:pt x="9899" y="17778"/>
                  </a:lnTo>
                  <a:lnTo>
                    <a:pt x="10471" y="17744"/>
                  </a:lnTo>
                  <a:lnTo>
                    <a:pt x="11044" y="17677"/>
                  </a:lnTo>
                  <a:lnTo>
                    <a:pt x="12121" y="17407"/>
                  </a:lnTo>
                  <a:lnTo>
                    <a:pt x="13502" y="17071"/>
                  </a:lnTo>
                  <a:lnTo>
                    <a:pt x="14848" y="16700"/>
                  </a:lnTo>
                  <a:lnTo>
                    <a:pt x="17474" y="15960"/>
                  </a:lnTo>
                  <a:lnTo>
                    <a:pt x="20067" y="15185"/>
                  </a:lnTo>
                  <a:lnTo>
                    <a:pt x="20168" y="15657"/>
                  </a:lnTo>
                  <a:lnTo>
                    <a:pt x="19629" y="15825"/>
                  </a:lnTo>
                  <a:lnTo>
                    <a:pt x="19090" y="15960"/>
                  </a:lnTo>
                  <a:lnTo>
                    <a:pt x="18552" y="16094"/>
                  </a:lnTo>
                  <a:lnTo>
                    <a:pt x="18013" y="16229"/>
                  </a:lnTo>
                  <a:lnTo>
                    <a:pt x="16666" y="16633"/>
                  </a:lnTo>
                  <a:lnTo>
                    <a:pt x="15993" y="16835"/>
                  </a:lnTo>
                  <a:lnTo>
                    <a:pt x="15320" y="17037"/>
                  </a:lnTo>
                  <a:lnTo>
                    <a:pt x="12862" y="17643"/>
                  </a:lnTo>
                  <a:lnTo>
                    <a:pt x="11616" y="17946"/>
                  </a:lnTo>
                  <a:lnTo>
                    <a:pt x="11010" y="18114"/>
                  </a:lnTo>
                  <a:lnTo>
                    <a:pt x="10404" y="18316"/>
                  </a:lnTo>
                  <a:lnTo>
                    <a:pt x="10303" y="18350"/>
                  </a:lnTo>
                  <a:lnTo>
                    <a:pt x="9630" y="17677"/>
                  </a:lnTo>
                  <a:lnTo>
                    <a:pt x="9125" y="17104"/>
                  </a:lnTo>
                  <a:lnTo>
                    <a:pt x="8552" y="16498"/>
                  </a:lnTo>
                  <a:lnTo>
                    <a:pt x="8249" y="16229"/>
                  </a:lnTo>
                  <a:lnTo>
                    <a:pt x="7946" y="15960"/>
                  </a:lnTo>
                  <a:lnTo>
                    <a:pt x="7610" y="15724"/>
                  </a:lnTo>
                  <a:lnTo>
                    <a:pt x="7273" y="15556"/>
                  </a:lnTo>
                  <a:lnTo>
                    <a:pt x="7172" y="15185"/>
                  </a:lnTo>
                  <a:lnTo>
                    <a:pt x="7172" y="15118"/>
                  </a:lnTo>
                  <a:lnTo>
                    <a:pt x="7138" y="15084"/>
                  </a:lnTo>
                  <a:lnTo>
                    <a:pt x="7105" y="15051"/>
                  </a:lnTo>
                  <a:lnTo>
                    <a:pt x="6768" y="14074"/>
                  </a:lnTo>
                  <a:lnTo>
                    <a:pt x="6600" y="13569"/>
                  </a:lnTo>
                  <a:lnTo>
                    <a:pt x="6465" y="13064"/>
                  </a:lnTo>
                  <a:lnTo>
                    <a:pt x="6095" y="11616"/>
                  </a:lnTo>
                  <a:lnTo>
                    <a:pt x="5792" y="10135"/>
                  </a:lnTo>
                  <a:lnTo>
                    <a:pt x="5489" y="8755"/>
                  </a:lnTo>
                  <a:lnTo>
                    <a:pt x="5320" y="8048"/>
                  </a:lnTo>
                  <a:lnTo>
                    <a:pt x="5219" y="7374"/>
                  </a:lnTo>
                  <a:lnTo>
                    <a:pt x="5219" y="7105"/>
                  </a:lnTo>
                  <a:lnTo>
                    <a:pt x="5253" y="6869"/>
                  </a:lnTo>
                  <a:lnTo>
                    <a:pt x="5320" y="6667"/>
                  </a:lnTo>
                  <a:lnTo>
                    <a:pt x="5421" y="6465"/>
                  </a:lnTo>
                  <a:lnTo>
                    <a:pt x="5556" y="6297"/>
                  </a:lnTo>
                  <a:lnTo>
                    <a:pt x="5724" y="6162"/>
                  </a:lnTo>
                  <a:lnTo>
                    <a:pt x="5926" y="6027"/>
                  </a:lnTo>
                  <a:lnTo>
                    <a:pt x="6128" y="5926"/>
                  </a:lnTo>
                  <a:lnTo>
                    <a:pt x="6398" y="5825"/>
                  </a:lnTo>
                  <a:lnTo>
                    <a:pt x="6499" y="5758"/>
                  </a:lnTo>
                  <a:lnTo>
                    <a:pt x="6566" y="5657"/>
                  </a:lnTo>
                  <a:lnTo>
                    <a:pt x="6600" y="5657"/>
                  </a:lnTo>
                  <a:lnTo>
                    <a:pt x="7071" y="5623"/>
                  </a:lnTo>
                  <a:lnTo>
                    <a:pt x="7542" y="5522"/>
                  </a:lnTo>
                  <a:lnTo>
                    <a:pt x="8485" y="5253"/>
                  </a:lnTo>
                  <a:lnTo>
                    <a:pt x="9259" y="5051"/>
                  </a:lnTo>
                  <a:lnTo>
                    <a:pt x="10000" y="4849"/>
                  </a:lnTo>
                  <a:lnTo>
                    <a:pt x="10774" y="4613"/>
                  </a:lnTo>
                  <a:lnTo>
                    <a:pt x="11549" y="4445"/>
                  </a:lnTo>
                  <a:lnTo>
                    <a:pt x="12929" y="4142"/>
                  </a:lnTo>
                  <a:lnTo>
                    <a:pt x="14310" y="3839"/>
                  </a:lnTo>
                  <a:lnTo>
                    <a:pt x="15656" y="3536"/>
                  </a:lnTo>
                  <a:lnTo>
                    <a:pt x="16330" y="3334"/>
                  </a:lnTo>
                  <a:lnTo>
                    <a:pt x="17003" y="3098"/>
                  </a:lnTo>
                  <a:close/>
                  <a:moveTo>
                    <a:pt x="20235" y="15892"/>
                  </a:moveTo>
                  <a:lnTo>
                    <a:pt x="20336" y="16397"/>
                  </a:lnTo>
                  <a:lnTo>
                    <a:pt x="18181" y="16835"/>
                  </a:lnTo>
                  <a:lnTo>
                    <a:pt x="17104" y="17104"/>
                  </a:lnTo>
                  <a:lnTo>
                    <a:pt x="16027" y="17374"/>
                  </a:lnTo>
                  <a:lnTo>
                    <a:pt x="14815" y="17710"/>
                  </a:lnTo>
                  <a:lnTo>
                    <a:pt x="13636" y="18114"/>
                  </a:lnTo>
                  <a:lnTo>
                    <a:pt x="13064" y="18283"/>
                  </a:lnTo>
                  <a:lnTo>
                    <a:pt x="12491" y="18451"/>
                  </a:lnTo>
                  <a:lnTo>
                    <a:pt x="11919" y="18619"/>
                  </a:lnTo>
                  <a:lnTo>
                    <a:pt x="11347" y="18821"/>
                  </a:lnTo>
                  <a:lnTo>
                    <a:pt x="11111" y="18855"/>
                  </a:lnTo>
                  <a:lnTo>
                    <a:pt x="10909" y="18956"/>
                  </a:lnTo>
                  <a:lnTo>
                    <a:pt x="10471" y="18518"/>
                  </a:lnTo>
                  <a:lnTo>
                    <a:pt x="10606" y="18485"/>
                  </a:lnTo>
                  <a:lnTo>
                    <a:pt x="10741" y="18451"/>
                  </a:lnTo>
                  <a:lnTo>
                    <a:pt x="10842" y="18384"/>
                  </a:lnTo>
                  <a:lnTo>
                    <a:pt x="11380" y="18283"/>
                  </a:lnTo>
                  <a:lnTo>
                    <a:pt x="11885" y="18182"/>
                  </a:lnTo>
                  <a:lnTo>
                    <a:pt x="12929" y="17879"/>
                  </a:lnTo>
                  <a:lnTo>
                    <a:pt x="15623" y="17205"/>
                  </a:lnTo>
                  <a:lnTo>
                    <a:pt x="16296" y="17003"/>
                  </a:lnTo>
                  <a:lnTo>
                    <a:pt x="16936" y="16801"/>
                  </a:lnTo>
                  <a:lnTo>
                    <a:pt x="18282" y="16397"/>
                  </a:lnTo>
                  <a:lnTo>
                    <a:pt x="19259" y="16162"/>
                  </a:lnTo>
                  <a:lnTo>
                    <a:pt x="19764" y="16061"/>
                  </a:lnTo>
                  <a:lnTo>
                    <a:pt x="20235" y="15892"/>
                  </a:lnTo>
                  <a:close/>
                  <a:moveTo>
                    <a:pt x="20403" y="16667"/>
                  </a:moveTo>
                  <a:lnTo>
                    <a:pt x="20504" y="17138"/>
                  </a:lnTo>
                  <a:lnTo>
                    <a:pt x="19393" y="17407"/>
                  </a:lnTo>
                  <a:lnTo>
                    <a:pt x="18282" y="17677"/>
                  </a:lnTo>
                  <a:lnTo>
                    <a:pt x="17205" y="18013"/>
                  </a:lnTo>
                  <a:lnTo>
                    <a:pt x="16128" y="18384"/>
                  </a:lnTo>
                  <a:lnTo>
                    <a:pt x="15118" y="18754"/>
                  </a:lnTo>
                  <a:lnTo>
                    <a:pt x="14074" y="19124"/>
                  </a:lnTo>
                  <a:lnTo>
                    <a:pt x="13502" y="19293"/>
                  </a:lnTo>
                  <a:lnTo>
                    <a:pt x="12929" y="19394"/>
                  </a:lnTo>
                  <a:lnTo>
                    <a:pt x="11751" y="19596"/>
                  </a:lnTo>
                  <a:lnTo>
                    <a:pt x="11717" y="19629"/>
                  </a:lnTo>
                  <a:lnTo>
                    <a:pt x="11683" y="19663"/>
                  </a:lnTo>
                  <a:lnTo>
                    <a:pt x="11212" y="19259"/>
                  </a:lnTo>
                  <a:lnTo>
                    <a:pt x="11111" y="19158"/>
                  </a:lnTo>
                  <a:lnTo>
                    <a:pt x="11313" y="19091"/>
                  </a:lnTo>
                  <a:lnTo>
                    <a:pt x="11515" y="19023"/>
                  </a:lnTo>
                  <a:lnTo>
                    <a:pt x="12020" y="18889"/>
                  </a:lnTo>
                  <a:lnTo>
                    <a:pt x="12289" y="18855"/>
                  </a:lnTo>
                  <a:lnTo>
                    <a:pt x="12424" y="18821"/>
                  </a:lnTo>
                  <a:lnTo>
                    <a:pt x="12525" y="18754"/>
                  </a:lnTo>
                  <a:lnTo>
                    <a:pt x="12559" y="18754"/>
                  </a:lnTo>
                  <a:lnTo>
                    <a:pt x="13468" y="18451"/>
                  </a:lnTo>
                  <a:lnTo>
                    <a:pt x="14680" y="18047"/>
                  </a:lnTo>
                  <a:lnTo>
                    <a:pt x="15858" y="17677"/>
                  </a:lnTo>
                  <a:lnTo>
                    <a:pt x="17003" y="17407"/>
                  </a:lnTo>
                  <a:lnTo>
                    <a:pt x="18114" y="17138"/>
                  </a:lnTo>
                  <a:lnTo>
                    <a:pt x="20403" y="16667"/>
                  </a:lnTo>
                  <a:close/>
                  <a:moveTo>
                    <a:pt x="6835" y="15556"/>
                  </a:moveTo>
                  <a:lnTo>
                    <a:pt x="7239" y="15825"/>
                  </a:lnTo>
                  <a:lnTo>
                    <a:pt x="7610" y="16094"/>
                  </a:lnTo>
                  <a:lnTo>
                    <a:pt x="7980" y="16397"/>
                  </a:lnTo>
                  <a:lnTo>
                    <a:pt x="8317" y="16700"/>
                  </a:lnTo>
                  <a:lnTo>
                    <a:pt x="8990" y="17340"/>
                  </a:lnTo>
                  <a:lnTo>
                    <a:pt x="9630" y="18013"/>
                  </a:lnTo>
                  <a:lnTo>
                    <a:pt x="10337" y="18754"/>
                  </a:lnTo>
                  <a:lnTo>
                    <a:pt x="11044" y="19461"/>
                  </a:lnTo>
                  <a:lnTo>
                    <a:pt x="11380" y="19730"/>
                  </a:lnTo>
                  <a:lnTo>
                    <a:pt x="11717" y="20000"/>
                  </a:lnTo>
                  <a:lnTo>
                    <a:pt x="12054" y="20303"/>
                  </a:lnTo>
                  <a:lnTo>
                    <a:pt x="12357" y="20572"/>
                  </a:lnTo>
                  <a:lnTo>
                    <a:pt x="12289" y="20639"/>
                  </a:lnTo>
                  <a:lnTo>
                    <a:pt x="12256" y="20707"/>
                  </a:lnTo>
                  <a:lnTo>
                    <a:pt x="12256" y="20740"/>
                  </a:lnTo>
                  <a:lnTo>
                    <a:pt x="12054" y="20976"/>
                  </a:lnTo>
                  <a:lnTo>
                    <a:pt x="11852" y="21178"/>
                  </a:lnTo>
                  <a:lnTo>
                    <a:pt x="11650" y="21346"/>
                  </a:lnTo>
                  <a:lnTo>
                    <a:pt x="11414" y="21212"/>
                  </a:lnTo>
                  <a:lnTo>
                    <a:pt x="11212" y="21077"/>
                  </a:lnTo>
                  <a:lnTo>
                    <a:pt x="10842" y="20740"/>
                  </a:lnTo>
                  <a:lnTo>
                    <a:pt x="10438" y="20404"/>
                  </a:lnTo>
                  <a:lnTo>
                    <a:pt x="10034" y="20067"/>
                  </a:lnTo>
                  <a:lnTo>
                    <a:pt x="9226" y="19293"/>
                  </a:lnTo>
                  <a:lnTo>
                    <a:pt x="8384" y="18552"/>
                  </a:lnTo>
                  <a:lnTo>
                    <a:pt x="7643" y="17946"/>
                  </a:lnTo>
                  <a:lnTo>
                    <a:pt x="7273" y="17643"/>
                  </a:lnTo>
                  <a:lnTo>
                    <a:pt x="6936" y="17273"/>
                  </a:lnTo>
                  <a:lnTo>
                    <a:pt x="6566" y="16835"/>
                  </a:lnTo>
                  <a:lnTo>
                    <a:pt x="6364" y="16633"/>
                  </a:lnTo>
                  <a:lnTo>
                    <a:pt x="6128" y="16465"/>
                  </a:lnTo>
                  <a:lnTo>
                    <a:pt x="6398" y="16128"/>
                  </a:lnTo>
                  <a:lnTo>
                    <a:pt x="6701" y="15791"/>
                  </a:lnTo>
                  <a:lnTo>
                    <a:pt x="6835" y="15556"/>
                  </a:lnTo>
                  <a:close/>
                  <a:moveTo>
                    <a:pt x="20538" y="17407"/>
                  </a:moveTo>
                  <a:lnTo>
                    <a:pt x="20673" y="18081"/>
                  </a:lnTo>
                  <a:lnTo>
                    <a:pt x="20942" y="19562"/>
                  </a:lnTo>
                  <a:lnTo>
                    <a:pt x="18619" y="20134"/>
                  </a:lnTo>
                  <a:lnTo>
                    <a:pt x="16296" y="20707"/>
                  </a:lnTo>
                  <a:lnTo>
                    <a:pt x="14916" y="21077"/>
                  </a:lnTo>
                  <a:lnTo>
                    <a:pt x="13535" y="21481"/>
                  </a:lnTo>
                  <a:lnTo>
                    <a:pt x="12862" y="21683"/>
                  </a:lnTo>
                  <a:lnTo>
                    <a:pt x="12963" y="21616"/>
                  </a:lnTo>
                  <a:lnTo>
                    <a:pt x="13030" y="21515"/>
                  </a:lnTo>
                  <a:lnTo>
                    <a:pt x="13064" y="21414"/>
                  </a:lnTo>
                  <a:lnTo>
                    <a:pt x="13064" y="21279"/>
                  </a:lnTo>
                  <a:lnTo>
                    <a:pt x="12996" y="21178"/>
                  </a:lnTo>
                  <a:lnTo>
                    <a:pt x="12895" y="21077"/>
                  </a:lnTo>
                  <a:lnTo>
                    <a:pt x="12794" y="20976"/>
                  </a:lnTo>
                  <a:lnTo>
                    <a:pt x="12559" y="20774"/>
                  </a:lnTo>
                  <a:lnTo>
                    <a:pt x="12660" y="20572"/>
                  </a:lnTo>
                  <a:lnTo>
                    <a:pt x="12660" y="20505"/>
                  </a:lnTo>
                  <a:lnTo>
                    <a:pt x="12592" y="20471"/>
                  </a:lnTo>
                  <a:lnTo>
                    <a:pt x="12592" y="20437"/>
                  </a:lnTo>
                  <a:lnTo>
                    <a:pt x="12929" y="20404"/>
                  </a:lnTo>
                  <a:lnTo>
                    <a:pt x="13266" y="20336"/>
                  </a:lnTo>
                  <a:lnTo>
                    <a:pt x="13973" y="20168"/>
                  </a:lnTo>
                  <a:lnTo>
                    <a:pt x="14646" y="19966"/>
                  </a:lnTo>
                  <a:lnTo>
                    <a:pt x="15286" y="19764"/>
                  </a:lnTo>
                  <a:lnTo>
                    <a:pt x="15690" y="19629"/>
                  </a:lnTo>
                  <a:lnTo>
                    <a:pt x="16094" y="19461"/>
                  </a:lnTo>
                  <a:lnTo>
                    <a:pt x="16868" y="19091"/>
                  </a:lnTo>
                  <a:lnTo>
                    <a:pt x="17239" y="18956"/>
                  </a:lnTo>
                  <a:lnTo>
                    <a:pt x="17643" y="18821"/>
                  </a:lnTo>
                  <a:lnTo>
                    <a:pt x="18047" y="18720"/>
                  </a:lnTo>
                  <a:lnTo>
                    <a:pt x="18484" y="18687"/>
                  </a:lnTo>
                  <a:lnTo>
                    <a:pt x="18552" y="18687"/>
                  </a:lnTo>
                  <a:lnTo>
                    <a:pt x="18585" y="18653"/>
                  </a:lnTo>
                  <a:lnTo>
                    <a:pt x="18619" y="18552"/>
                  </a:lnTo>
                  <a:lnTo>
                    <a:pt x="18585" y="18451"/>
                  </a:lnTo>
                  <a:lnTo>
                    <a:pt x="18552" y="18417"/>
                  </a:lnTo>
                  <a:lnTo>
                    <a:pt x="18484" y="18384"/>
                  </a:lnTo>
                  <a:lnTo>
                    <a:pt x="18114" y="18417"/>
                  </a:lnTo>
                  <a:lnTo>
                    <a:pt x="17777" y="18485"/>
                  </a:lnTo>
                  <a:lnTo>
                    <a:pt x="17407" y="18552"/>
                  </a:lnTo>
                  <a:lnTo>
                    <a:pt x="17070" y="18687"/>
                  </a:lnTo>
                  <a:lnTo>
                    <a:pt x="16397" y="18956"/>
                  </a:lnTo>
                  <a:lnTo>
                    <a:pt x="15757" y="19259"/>
                  </a:lnTo>
                  <a:lnTo>
                    <a:pt x="15353" y="19427"/>
                  </a:lnTo>
                  <a:lnTo>
                    <a:pt x="14916" y="19562"/>
                  </a:lnTo>
                  <a:lnTo>
                    <a:pt x="14108" y="19798"/>
                  </a:lnTo>
                  <a:lnTo>
                    <a:pt x="13232" y="20000"/>
                  </a:lnTo>
                  <a:lnTo>
                    <a:pt x="12828" y="20134"/>
                  </a:lnTo>
                  <a:lnTo>
                    <a:pt x="12424" y="20269"/>
                  </a:lnTo>
                  <a:lnTo>
                    <a:pt x="11784" y="19730"/>
                  </a:lnTo>
                  <a:lnTo>
                    <a:pt x="12054" y="19764"/>
                  </a:lnTo>
                  <a:lnTo>
                    <a:pt x="12323" y="19764"/>
                  </a:lnTo>
                  <a:lnTo>
                    <a:pt x="12828" y="19730"/>
                  </a:lnTo>
                  <a:lnTo>
                    <a:pt x="13367" y="19629"/>
                  </a:lnTo>
                  <a:lnTo>
                    <a:pt x="13906" y="19461"/>
                  </a:lnTo>
                  <a:lnTo>
                    <a:pt x="14444" y="19293"/>
                  </a:lnTo>
                  <a:lnTo>
                    <a:pt x="14983" y="19091"/>
                  </a:lnTo>
                  <a:lnTo>
                    <a:pt x="15959" y="18720"/>
                  </a:lnTo>
                  <a:lnTo>
                    <a:pt x="17070" y="18316"/>
                  </a:lnTo>
                  <a:lnTo>
                    <a:pt x="18215" y="17980"/>
                  </a:lnTo>
                  <a:lnTo>
                    <a:pt x="19393" y="17677"/>
                  </a:lnTo>
                  <a:lnTo>
                    <a:pt x="20538" y="17407"/>
                  </a:lnTo>
                  <a:close/>
                  <a:moveTo>
                    <a:pt x="12458" y="20909"/>
                  </a:moveTo>
                  <a:lnTo>
                    <a:pt x="12559" y="21010"/>
                  </a:lnTo>
                  <a:lnTo>
                    <a:pt x="12761" y="21178"/>
                  </a:lnTo>
                  <a:lnTo>
                    <a:pt x="12862" y="21245"/>
                  </a:lnTo>
                  <a:lnTo>
                    <a:pt x="12895" y="21313"/>
                  </a:lnTo>
                  <a:lnTo>
                    <a:pt x="12895" y="21380"/>
                  </a:lnTo>
                  <a:lnTo>
                    <a:pt x="12794" y="21447"/>
                  </a:lnTo>
                  <a:lnTo>
                    <a:pt x="12693" y="21582"/>
                  </a:lnTo>
                  <a:lnTo>
                    <a:pt x="12559" y="21649"/>
                  </a:lnTo>
                  <a:lnTo>
                    <a:pt x="12390" y="21717"/>
                  </a:lnTo>
                  <a:lnTo>
                    <a:pt x="12222" y="21717"/>
                  </a:lnTo>
                  <a:lnTo>
                    <a:pt x="12020" y="21616"/>
                  </a:lnTo>
                  <a:lnTo>
                    <a:pt x="11919" y="21548"/>
                  </a:lnTo>
                  <a:lnTo>
                    <a:pt x="11852" y="21481"/>
                  </a:lnTo>
                  <a:lnTo>
                    <a:pt x="12020" y="21346"/>
                  </a:lnTo>
                  <a:lnTo>
                    <a:pt x="12155" y="21212"/>
                  </a:lnTo>
                  <a:lnTo>
                    <a:pt x="12458" y="20909"/>
                  </a:lnTo>
                  <a:close/>
                  <a:moveTo>
                    <a:pt x="17979" y="2661"/>
                  </a:moveTo>
                  <a:lnTo>
                    <a:pt x="18047" y="2762"/>
                  </a:lnTo>
                  <a:lnTo>
                    <a:pt x="18148" y="2762"/>
                  </a:lnTo>
                  <a:lnTo>
                    <a:pt x="18080" y="2829"/>
                  </a:lnTo>
                  <a:lnTo>
                    <a:pt x="18080" y="2964"/>
                  </a:lnTo>
                  <a:lnTo>
                    <a:pt x="18181" y="3300"/>
                  </a:lnTo>
                  <a:lnTo>
                    <a:pt x="18417" y="3940"/>
                  </a:lnTo>
                  <a:lnTo>
                    <a:pt x="18787" y="5085"/>
                  </a:lnTo>
                  <a:lnTo>
                    <a:pt x="19124" y="6230"/>
                  </a:lnTo>
                  <a:lnTo>
                    <a:pt x="19427" y="7576"/>
                  </a:lnTo>
                  <a:lnTo>
                    <a:pt x="19595" y="8250"/>
                  </a:lnTo>
                  <a:lnTo>
                    <a:pt x="19764" y="8923"/>
                  </a:lnTo>
                  <a:lnTo>
                    <a:pt x="20134" y="10236"/>
                  </a:lnTo>
                  <a:lnTo>
                    <a:pt x="20302" y="10876"/>
                  </a:lnTo>
                  <a:lnTo>
                    <a:pt x="20471" y="11549"/>
                  </a:lnTo>
                  <a:lnTo>
                    <a:pt x="20605" y="12222"/>
                  </a:lnTo>
                  <a:lnTo>
                    <a:pt x="20706" y="12929"/>
                  </a:lnTo>
                  <a:lnTo>
                    <a:pt x="20807" y="13636"/>
                  </a:lnTo>
                  <a:lnTo>
                    <a:pt x="20942" y="14344"/>
                  </a:lnTo>
                  <a:lnTo>
                    <a:pt x="21211" y="15724"/>
                  </a:lnTo>
                  <a:lnTo>
                    <a:pt x="21548" y="17104"/>
                  </a:lnTo>
                  <a:lnTo>
                    <a:pt x="21885" y="18350"/>
                  </a:lnTo>
                  <a:lnTo>
                    <a:pt x="22289" y="19596"/>
                  </a:lnTo>
                  <a:lnTo>
                    <a:pt x="22659" y="20841"/>
                  </a:lnTo>
                  <a:lnTo>
                    <a:pt x="23063" y="22087"/>
                  </a:lnTo>
                  <a:lnTo>
                    <a:pt x="22895" y="21952"/>
                  </a:lnTo>
                  <a:lnTo>
                    <a:pt x="22760" y="21784"/>
                  </a:lnTo>
                  <a:lnTo>
                    <a:pt x="22727" y="21750"/>
                  </a:lnTo>
                  <a:lnTo>
                    <a:pt x="22659" y="21717"/>
                  </a:lnTo>
                  <a:lnTo>
                    <a:pt x="22592" y="21750"/>
                  </a:lnTo>
                  <a:lnTo>
                    <a:pt x="22558" y="21784"/>
                  </a:lnTo>
                  <a:lnTo>
                    <a:pt x="22424" y="21986"/>
                  </a:lnTo>
                  <a:lnTo>
                    <a:pt x="22356" y="22188"/>
                  </a:lnTo>
                  <a:lnTo>
                    <a:pt x="22222" y="22559"/>
                  </a:lnTo>
                  <a:lnTo>
                    <a:pt x="21986" y="22053"/>
                  </a:lnTo>
                  <a:lnTo>
                    <a:pt x="21784" y="21515"/>
                  </a:lnTo>
                  <a:lnTo>
                    <a:pt x="21616" y="20976"/>
                  </a:lnTo>
                  <a:lnTo>
                    <a:pt x="21447" y="20437"/>
                  </a:lnTo>
                  <a:lnTo>
                    <a:pt x="21481" y="20404"/>
                  </a:lnTo>
                  <a:lnTo>
                    <a:pt x="21447" y="20336"/>
                  </a:lnTo>
                  <a:lnTo>
                    <a:pt x="21447" y="20303"/>
                  </a:lnTo>
                  <a:lnTo>
                    <a:pt x="21380" y="20269"/>
                  </a:lnTo>
                  <a:lnTo>
                    <a:pt x="21245" y="19629"/>
                  </a:lnTo>
                  <a:lnTo>
                    <a:pt x="21077" y="18821"/>
                  </a:lnTo>
                  <a:lnTo>
                    <a:pt x="20908" y="18013"/>
                  </a:lnTo>
                  <a:lnTo>
                    <a:pt x="20774" y="17340"/>
                  </a:lnTo>
                  <a:lnTo>
                    <a:pt x="20807" y="17273"/>
                  </a:lnTo>
                  <a:lnTo>
                    <a:pt x="20807" y="17239"/>
                  </a:lnTo>
                  <a:lnTo>
                    <a:pt x="20774" y="17172"/>
                  </a:lnTo>
                  <a:lnTo>
                    <a:pt x="20740" y="17138"/>
                  </a:lnTo>
                  <a:lnTo>
                    <a:pt x="20471" y="15791"/>
                  </a:lnTo>
                  <a:lnTo>
                    <a:pt x="20504" y="15758"/>
                  </a:lnTo>
                  <a:lnTo>
                    <a:pt x="20504" y="15690"/>
                  </a:lnTo>
                  <a:lnTo>
                    <a:pt x="20471" y="15657"/>
                  </a:lnTo>
                  <a:lnTo>
                    <a:pt x="20403" y="15589"/>
                  </a:lnTo>
                  <a:lnTo>
                    <a:pt x="20302" y="15118"/>
                  </a:lnTo>
                  <a:lnTo>
                    <a:pt x="20336" y="15017"/>
                  </a:lnTo>
                  <a:lnTo>
                    <a:pt x="20336" y="14950"/>
                  </a:lnTo>
                  <a:lnTo>
                    <a:pt x="20302" y="14882"/>
                  </a:lnTo>
                  <a:lnTo>
                    <a:pt x="20235" y="14849"/>
                  </a:lnTo>
                  <a:lnTo>
                    <a:pt x="19764" y="12963"/>
                  </a:lnTo>
                  <a:lnTo>
                    <a:pt x="19326" y="11246"/>
                  </a:lnTo>
                  <a:lnTo>
                    <a:pt x="19326" y="11145"/>
                  </a:lnTo>
                  <a:lnTo>
                    <a:pt x="19259" y="11078"/>
                  </a:lnTo>
                  <a:lnTo>
                    <a:pt x="18956" y="9731"/>
                  </a:lnTo>
                  <a:lnTo>
                    <a:pt x="18956" y="9630"/>
                  </a:lnTo>
                  <a:lnTo>
                    <a:pt x="18787" y="8957"/>
                  </a:lnTo>
                  <a:lnTo>
                    <a:pt x="18821" y="8856"/>
                  </a:lnTo>
                  <a:lnTo>
                    <a:pt x="18787" y="8788"/>
                  </a:lnTo>
                  <a:lnTo>
                    <a:pt x="18754" y="8755"/>
                  </a:lnTo>
                  <a:lnTo>
                    <a:pt x="18552" y="7745"/>
                  </a:lnTo>
                  <a:lnTo>
                    <a:pt x="18316" y="6364"/>
                  </a:lnTo>
                  <a:lnTo>
                    <a:pt x="18148" y="5691"/>
                  </a:lnTo>
                  <a:lnTo>
                    <a:pt x="17979" y="4984"/>
                  </a:lnTo>
                  <a:lnTo>
                    <a:pt x="17777" y="4512"/>
                  </a:lnTo>
                  <a:lnTo>
                    <a:pt x="17575" y="4007"/>
                  </a:lnTo>
                  <a:lnTo>
                    <a:pt x="17340" y="3536"/>
                  </a:lnTo>
                  <a:lnTo>
                    <a:pt x="17239" y="3267"/>
                  </a:lnTo>
                  <a:lnTo>
                    <a:pt x="17171" y="3031"/>
                  </a:lnTo>
                  <a:lnTo>
                    <a:pt x="17205" y="2930"/>
                  </a:lnTo>
                  <a:lnTo>
                    <a:pt x="17171" y="2896"/>
                  </a:lnTo>
                  <a:lnTo>
                    <a:pt x="17138" y="2863"/>
                  </a:lnTo>
                  <a:lnTo>
                    <a:pt x="17138" y="2829"/>
                  </a:lnTo>
                  <a:lnTo>
                    <a:pt x="17171" y="2829"/>
                  </a:lnTo>
                  <a:lnTo>
                    <a:pt x="17441" y="2728"/>
                  </a:lnTo>
                  <a:lnTo>
                    <a:pt x="17710" y="2694"/>
                  </a:lnTo>
                  <a:lnTo>
                    <a:pt x="17979" y="2661"/>
                  </a:lnTo>
                  <a:close/>
                  <a:moveTo>
                    <a:pt x="24275" y="1"/>
                  </a:moveTo>
                  <a:lnTo>
                    <a:pt x="22626" y="506"/>
                  </a:lnTo>
                  <a:lnTo>
                    <a:pt x="20976" y="977"/>
                  </a:lnTo>
                  <a:lnTo>
                    <a:pt x="19326" y="1381"/>
                  </a:lnTo>
                  <a:lnTo>
                    <a:pt x="17643" y="1785"/>
                  </a:lnTo>
                  <a:lnTo>
                    <a:pt x="14310" y="2593"/>
                  </a:lnTo>
                  <a:lnTo>
                    <a:pt x="12626" y="2997"/>
                  </a:lnTo>
                  <a:lnTo>
                    <a:pt x="10976" y="3401"/>
                  </a:lnTo>
                  <a:lnTo>
                    <a:pt x="9630" y="3772"/>
                  </a:lnTo>
                  <a:lnTo>
                    <a:pt x="8317" y="4176"/>
                  </a:lnTo>
                  <a:lnTo>
                    <a:pt x="5691" y="5017"/>
                  </a:lnTo>
                  <a:lnTo>
                    <a:pt x="5051" y="5253"/>
                  </a:lnTo>
                  <a:lnTo>
                    <a:pt x="4714" y="5388"/>
                  </a:lnTo>
                  <a:lnTo>
                    <a:pt x="4377" y="5590"/>
                  </a:lnTo>
                  <a:lnTo>
                    <a:pt x="4108" y="5792"/>
                  </a:lnTo>
                  <a:lnTo>
                    <a:pt x="3973" y="5926"/>
                  </a:lnTo>
                  <a:lnTo>
                    <a:pt x="3906" y="6061"/>
                  </a:lnTo>
                  <a:lnTo>
                    <a:pt x="3839" y="6230"/>
                  </a:lnTo>
                  <a:lnTo>
                    <a:pt x="3805" y="6364"/>
                  </a:lnTo>
                  <a:lnTo>
                    <a:pt x="3771" y="6533"/>
                  </a:lnTo>
                  <a:lnTo>
                    <a:pt x="3805" y="6735"/>
                  </a:lnTo>
                  <a:lnTo>
                    <a:pt x="3771" y="7105"/>
                  </a:lnTo>
                  <a:lnTo>
                    <a:pt x="3805" y="7509"/>
                  </a:lnTo>
                  <a:lnTo>
                    <a:pt x="3906" y="7913"/>
                  </a:lnTo>
                  <a:lnTo>
                    <a:pt x="4007" y="8317"/>
                  </a:lnTo>
                  <a:lnTo>
                    <a:pt x="4310" y="9125"/>
                  </a:lnTo>
                  <a:lnTo>
                    <a:pt x="4546" y="9866"/>
                  </a:lnTo>
                  <a:lnTo>
                    <a:pt x="5556" y="13434"/>
                  </a:lnTo>
                  <a:lnTo>
                    <a:pt x="4916" y="12761"/>
                  </a:lnTo>
                  <a:lnTo>
                    <a:pt x="4243" y="12121"/>
                  </a:lnTo>
                  <a:lnTo>
                    <a:pt x="3839" y="11717"/>
                  </a:lnTo>
                  <a:lnTo>
                    <a:pt x="3401" y="11381"/>
                  </a:lnTo>
                  <a:lnTo>
                    <a:pt x="2963" y="11010"/>
                  </a:lnTo>
                  <a:lnTo>
                    <a:pt x="2559" y="10606"/>
                  </a:lnTo>
                  <a:lnTo>
                    <a:pt x="2290" y="10371"/>
                  </a:lnTo>
                  <a:lnTo>
                    <a:pt x="1987" y="10101"/>
                  </a:lnTo>
                  <a:lnTo>
                    <a:pt x="1819" y="9967"/>
                  </a:lnTo>
                  <a:lnTo>
                    <a:pt x="1650" y="9899"/>
                  </a:lnTo>
                  <a:lnTo>
                    <a:pt x="1482" y="9866"/>
                  </a:lnTo>
                  <a:lnTo>
                    <a:pt x="1280" y="9899"/>
                  </a:lnTo>
                  <a:lnTo>
                    <a:pt x="1280" y="9832"/>
                  </a:lnTo>
                  <a:lnTo>
                    <a:pt x="1246" y="9765"/>
                  </a:lnTo>
                  <a:lnTo>
                    <a:pt x="1179" y="9731"/>
                  </a:lnTo>
                  <a:lnTo>
                    <a:pt x="1112" y="9731"/>
                  </a:lnTo>
                  <a:lnTo>
                    <a:pt x="943" y="9832"/>
                  </a:lnTo>
                  <a:lnTo>
                    <a:pt x="775" y="10000"/>
                  </a:lnTo>
                  <a:lnTo>
                    <a:pt x="506" y="10303"/>
                  </a:lnTo>
                  <a:lnTo>
                    <a:pt x="270" y="10573"/>
                  </a:lnTo>
                  <a:lnTo>
                    <a:pt x="169" y="10741"/>
                  </a:lnTo>
                  <a:lnTo>
                    <a:pt x="135" y="10808"/>
                  </a:lnTo>
                  <a:lnTo>
                    <a:pt x="135" y="10876"/>
                  </a:lnTo>
                  <a:lnTo>
                    <a:pt x="102" y="10876"/>
                  </a:lnTo>
                  <a:lnTo>
                    <a:pt x="68" y="10909"/>
                  </a:lnTo>
                  <a:lnTo>
                    <a:pt x="34" y="10943"/>
                  </a:lnTo>
                  <a:lnTo>
                    <a:pt x="1" y="10977"/>
                  </a:lnTo>
                  <a:lnTo>
                    <a:pt x="34" y="11010"/>
                  </a:lnTo>
                  <a:lnTo>
                    <a:pt x="68" y="11044"/>
                  </a:lnTo>
                  <a:lnTo>
                    <a:pt x="236" y="11145"/>
                  </a:lnTo>
                  <a:lnTo>
                    <a:pt x="371" y="11280"/>
                  </a:lnTo>
                  <a:lnTo>
                    <a:pt x="640" y="11549"/>
                  </a:lnTo>
                  <a:lnTo>
                    <a:pt x="1145" y="12155"/>
                  </a:lnTo>
                  <a:lnTo>
                    <a:pt x="1448" y="12525"/>
                  </a:lnTo>
                  <a:lnTo>
                    <a:pt x="1785" y="12896"/>
                  </a:lnTo>
                  <a:lnTo>
                    <a:pt x="2155" y="13232"/>
                  </a:lnTo>
                  <a:lnTo>
                    <a:pt x="2526" y="13569"/>
                  </a:lnTo>
                  <a:lnTo>
                    <a:pt x="3401" y="14243"/>
                  </a:lnTo>
                  <a:lnTo>
                    <a:pt x="4276" y="14983"/>
                  </a:lnTo>
                  <a:lnTo>
                    <a:pt x="4680" y="15354"/>
                  </a:lnTo>
                  <a:lnTo>
                    <a:pt x="5085" y="15758"/>
                  </a:lnTo>
                  <a:lnTo>
                    <a:pt x="5455" y="16195"/>
                  </a:lnTo>
                  <a:lnTo>
                    <a:pt x="5792" y="16633"/>
                  </a:lnTo>
                  <a:lnTo>
                    <a:pt x="5859" y="16700"/>
                  </a:lnTo>
                  <a:lnTo>
                    <a:pt x="5994" y="16700"/>
                  </a:lnTo>
                  <a:lnTo>
                    <a:pt x="6027" y="16633"/>
                  </a:lnTo>
                  <a:lnTo>
                    <a:pt x="6061" y="16599"/>
                  </a:lnTo>
                  <a:lnTo>
                    <a:pt x="6162" y="16734"/>
                  </a:lnTo>
                  <a:lnTo>
                    <a:pt x="6263" y="16835"/>
                  </a:lnTo>
                  <a:lnTo>
                    <a:pt x="6330" y="16869"/>
                  </a:lnTo>
                  <a:lnTo>
                    <a:pt x="6330" y="16902"/>
                  </a:lnTo>
                  <a:lnTo>
                    <a:pt x="6600" y="17744"/>
                  </a:lnTo>
                  <a:lnTo>
                    <a:pt x="6869" y="18619"/>
                  </a:lnTo>
                  <a:lnTo>
                    <a:pt x="7071" y="19461"/>
                  </a:lnTo>
                  <a:lnTo>
                    <a:pt x="7239" y="20336"/>
                  </a:lnTo>
                  <a:lnTo>
                    <a:pt x="7610" y="22087"/>
                  </a:lnTo>
                  <a:lnTo>
                    <a:pt x="7812" y="22963"/>
                  </a:lnTo>
                  <a:lnTo>
                    <a:pt x="8081" y="23838"/>
                  </a:lnTo>
                  <a:lnTo>
                    <a:pt x="8653" y="25656"/>
                  </a:lnTo>
                  <a:lnTo>
                    <a:pt x="9226" y="27474"/>
                  </a:lnTo>
                  <a:lnTo>
                    <a:pt x="9327" y="27710"/>
                  </a:lnTo>
                  <a:lnTo>
                    <a:pt x="9428" y="27912"/>
                  </a:lnTo>
                  <a:lnTo>
                    <a:pt x="9529" y="28114"/>
                  </a:lnTo>
                  <a:lnTo>
                    <a:pt x="9663" y="28316"/>
                  </a:lnTo>
                  <a:lnTo>
                    <a:pt x="9832" y="28484"/>
                  </a:lnTo>
                  <a:lnTo>
                    <a:pt x="10000" y="28652"/>
                  </a:lnTo>
                  <a:lnTo>
                    <a:pt x="10202" y="28787"/>
                  </a:lnTo>
                  <a:lnTo>
                    <a:pt x="10438" y="28888"/>
                  </a:lnTo>
                  <a:lnTo>
                    <a:pt x="10707" y="28955"/>
                  </a:lnTo>
                  <a:lnTo>
                    <a:pt x="11010" y="29023"/>
                  </a:lnTo>
                  <a:lnTo>
                    <a:pt x="11313" y="29056"/>
                  </a:lnTo>
                  <a:lnTo>
                    <a:pt x="11616" y="29056"/>
                  </a:lnTo>
                  <a:lnTo>
                    <a:pt x="11919" y="29023"/>
                  </a:lnTo>
                  <a:lnTo>
                    <a:pt x="12222" y="28989"/>
                  </a:lnTo>
                  <a:lnTo>
                    <a:pt x="12828" y="28854"/>
                  </a:lnTo>
                  <a:lnTo>
                    <a:pt x="13434" y="28686"/>
                  </a:lnTo>
                  <a:lnTo>
                    <a:pt x="14040" y="28484"/>
                  </a:lnTo>
                  <a:lnTo>
                    <a:pt x="15151" y="28080"/>
                  </a:lnTo>
                  <a:lnTo>
                    <a:pt x="17104" y="27541"/>
                  </a:lnTo>
                  <a:lnTo>
                    <a:pt x="19057" y="27003"/>
                  </a:lnTo>
                  <a:lnTo>
                    <a:pt x="20067" y="26666"/>
                  </a:lnTo>
                  <a:lnTo>
                    <a:pt x="21110" y="26329"/>
                  </a:lnTo>
                  <a:lnTo>
                    <a:pt x="21616" y="26161"/>
                  </a:lnTo>
                  <a:lnTo>
                    <a:pt x="22154" y="26026"/>
                  </a:lnTo>
                  <a:lnTo>
                    <a:pt x="22659" y="25892"/>
                  </a:lnTo>
                  <a:lnTo>
                    <a:pt x="23198" y="25824"/>
                  </a:lnTo>
                  <a:lnTo>
                    <a:pt x="23265" y="25791"/>
                  </a:lnTo>
                  <a:lnTo>
                    <a:pt x="23333" y="25690"/>
                  </a:lnTo>
                  <a:lnTo>
                    <a:pt x="23467" y="25690"/>
                  </a:lnTo>
                  <a:lnTo>
                    <a:pt x="23636" y="25656"/>
                  </a:lnTo>
                  <a:lnTo>
                    <a:pt x="23972" y="25589"/>
                  </a:lnTo>
                  <a:lnTo>
                    <a:pt x="24275" y="25488"/>
                  </a:lnTo>
                  <a:lnTo>
                    <a:pt x="24275" y="25151"/>
                  </a:lnTo>
                  <a:lnTo>
                    <a:pt x="23636" y="25353"/>
                  </a:lnTo>
                  <a:lnTo>
                    <a:pt x="23366" y="25454"/>
                  </a:lnTo>
                  <a:lnTo>
                    <a:pt x="23198" y="25555"/>
                  </a:lnTo>
                  <a:lnTo>
                    <a:pt x="22760" y="25589"/>
                  </a:lnTo>
                  <a:lnTo>
                    <a:pt x="22356" y="25690"/>
                  </a:lnTo>
                  <a:lnTo>
                    <a:pt x="21548" y="25892"/>
                  </a:lnTo>
                  <a:lnTo>
                    <a:pt x="19966" y="26430"/>
                  </a:lnTo>
                  <a:lnTo>
                    <a:pt x="19057" y="26700"/>
                  </a:lnTo>
                  <a:lnTo>
                    <a:pt x="18148" y="26969"/>
                  </a:lnTo>
                  <a:lnTo>
                    <a:pt x="16296" y="27474"/>
                  </a:lnTo>
                  <a:lnTo>
                    <a:pt x="14882" y="27912"/>
                  </a:lnTo>
                  <a:lnTo>
                    <a:pt x="13468" y="28349"/>
                  </a:lnTo>
                  <a:lnTo>
                    <a:pt x="12895" y="28518"/>
                  </a:lnTo>
                  <a:lnTo>
                    <a:pt x="12323" y="28686"/>
                  </a:lnTo>
                  <a:lnTo>
                    <a:pt x="11717" y="28753"/>
                  </a:lnTo>
                  <a:lnTo>
                    <a:pt x="11414" y="28787"/>
                  </a:lnTo>
                  <a:lnTo>
                    <a:pt x="11111" y="28787"/>
                  </a:lnTo>
                  <a:lnTo>
                    <a:pt x="10741" y="28720"/>
                  </a:lnTo>
                  <a:lnTo>
                    <a:pt x="10438" y="28585"/>
                  </a:lnTo>
                  <a:lnTo>
                    <a:pt x="10202" y="28417"/>
                  </a:lnTo>
                  <a:lnTo>
                    <a:pt x="9966" y="28181"/>
                  </a:lnTo>
                  <a:lnTo>
                    <a:pt x="9798" y="27912"/>
                  </a:lnTo>
                  <a:lnTo>
                    <a:pt x="9630" y="27609"/>
                  </a:lnTo>
                  <a:lnTo>
                    <a:pt x="9495" y="27306"/>
                  </a:lnTo>
                  <a:lnTo>
                    <a:pt x="9394" y="26969"/>
                  </a:lnTo>
                  <a:lnTo>
                    <a:pt x="9125" y="26094"/>
                  </a:lnTo>
                  <a:lnTo>
                    <a:pt x="8822" y="25252"/>
                  </a:lnTo>
                  <a:lnTo>
                    <a:pt x="8249" y="23535"/>
                  </a:lnTo>
                  <a:lnTo>
                    <a:pt x="8014" y="22761"/>
                  </a:lnTo>
                  <a:lnTo>
                    <a:pt x="7812" y="21986"/>
                  </a:lnTo>
                  <a:lnTo>
                    <a:pt x="7475" y="20437"/>
                  </a:lnTo>
                  <a:lnTo>
                    <a:pt x="7138" y="18855"/>
                  </a:lnTo>
                  <a:lnTo>
                    <a:pt x="6936" y="18114"/>
                  </a:lnTo>
                  <a:lnTo>
                    <a:pt x="6667" y="17340"/>
                  </a:lnTo>
                  <a:lnTo>
                    <a:pt x="6768" y="17441"/>
                  </a:lnTo>
                  <a:lnTo>
                    <a:pt x="7037" y="17744"/>
                  </a:lnTo>
                  <a:lnTo>
                    <a:pt x="7307" y="18047"/>
                  </a:lnTo>
                  <a:lnTo>
                    <a:pt x="7946" y="18586"/>
                  </a:lnTo>
                  <a:lnTo>
                    <a:pt x="8115" y="18956"/>
                  </a:lnTo>
                  <a:lnTo>
                    <a:pt x="8216" y="19360"/>
                  </a:lnTo>
                  <a:lnTo>
                    <a:pt x="8418" y="20168"/>
                  </a:lnTo>
                  <a:lnTo>
                    <a:pt x="8586" y="21010"/>
                  </a:lnTo>
                  <a:lnTo>
                    <a:pt x="8721" y="21818"/>
                  </a:lnTo>
                  <a:lnTo>
                    <a:pt x="8923" y="23030"/>
                  </a:lnTo>
                  <a:lnTo>
                    <a:pt x="9192" y="24242"/>
                  </a:lnTo>
                  <a:lnTo>
                    <a:pt x="9394" y="25319"/>
                  </a:lnTo>
                  <a:lnTo>
                    <a:pt x="9562" y="25892"/>
                  </a:lnTo>
                  <a:lnTo>
                    <a:pt x="9731" y="26498"/>
                  </a:lnTo>
                  <a:lnTo>
                    <a:pt x="10000" y="27036"/>
                  </a:lnTo>
                  <a:lnTo>
                    <a:pt x="10135" y="27272"/>
                  </a:lnTo>
                  <a:lnTo>
                    <a:pt x="10303" y="27508"/>
                  </a:lnTo>
                  <a:lnTo>
                    <a:pt x="10505" y="27710"/>
                  </a:lnTo>
                  <a:lnTo>
                    <a:pt x="10707" y="27878"/>
                  </a:lnTo>
                  <a:lnTo>
                    <a:pt x="10943" y="28013"/>
                  </a:lnTo>
                  <a:lnTo>
                    <a:pt x="11178" y="28147"/>
                  </a:lnTo>
                  <a:lnTo>
                    <a:pt x="11515" y="28215"/>
                  </a:lnTo>
                  <a:lnTo>
                    <a:pt x="11852" y="28248"/>
                  </a:lnTo>
                  <a:lnTo>
                    <a:pt x="12188" y="28248"/>
                  </a:lnTo>
                  <a:lnTo>
                    <a:pt x="12525" y="28215"/>
                  </a:lnTo>
                  <a:lnTo>
                    <a:pt x="12862" y="28147"/>
                  </a:lnTo>
                  <a:lnTo>
                    <a:pt x="13199" y="28046"/>
                  </a:lnTo>
                  <a:lnTo>
                    <a:pt x="13838" y="27878"/>
                  </a:lnTo>
                  <a:lnTo>
                    <a:pt x="14613" y="27609"/>
                  </a:lnTo>
                  <a:lnTo>
                    <a:pt x="15387" y="27306"/>
                  </a:lnTo>
                  <a:lnTo>
                    <a:pt x="16195" y="27003"/>
                  </a:lnTo>
                  <a:lnTo>
                    <a:pt x="16969" y="26733"/>
                  </a:lnTo>
                  <a:lnTo>
                    <a:pt x="21279" y="25488"/>
                  </a:lnTo>
                  <a:lnTo>
                    <a:pt x="22356" y="25151"/>
                  </a:lnTo>
                  <a:lnTo>
                    <a:pt x="23467" y="24814"/>
                  </a:lnTo>
                  <a:lnTo>
                    <a:pt x="24275" y="24579"/>
                  </a:lnTo>
                  <a:lnTo>
                    <a:pt x="24275" y="24276"/>
                  </a:lnTo>
                  <a:lnTo>
                    <a:pt x="22929" y="24713"/>
                  </a:lnTo>
                  <a:lnTo>
                    <a:pt x="20807" y="25387"/>
                  </a:lnTo>
                  <a:lnTo>
                    <a:pt x="18686" y="25993"/>
                  </a:lnTo>
                  <a:lnTo>
                    <a:pt x="16936" y="26531"/>
                  </a:lnTo>
                  <a:lnTo>
                    <a:pt x="16094" y="26801"/>
                  </a:lnTo>
                  <a:lnTo>
                    <a:pt x="15252" y="27104"/>
                  </a:lnTo>
                  <a:lnTo>
                    <a:pt x="14444" y="27407"/>
                  </a:lnTo>
                  <a:lnTo>
                    <a:pt x="13670" y="27676"/>
                  </a:lnTo>
                  <a:lnTo>
                    <a:pt x="13232" y="27811"/>
                  </a:lnTo>
                  <a:lnTo>
                    <a:pt x="12828" y="27878"/>
                  </a:lnTo>
                  <a:lnTo>
                    <a:pt x="12424" y="27945"/>
                  </a:lnTo>
                  <a:lnTo>
                    <a:pt x="12020" y="27979"/>
                  </a:lnTo>
                  <a:lnTo>
                    <a:pt x="11650" y="27979"/>
                  </a:lnTo>
                  <a:lnTo>
                    <a:pt x="11313" y="27878"/>
                  </a:lnTo>
                  <a:lnTo>
                    <a:pt x="11044" y="27777"/>
                  </a:lnTo>
                  <a:lnTo>
                    <a:pt x="10774" y="27575"/>
                  </a:lnTo>
                  <a:lnTo>
                    <a:pt x="10539" y="27373"/>
                  </a:lnTo>
                  <a:lnTo>
                    <a:pt x="10337" y="27104"/>
                  </a:lnTo>
                  <a:lnTo>
                    <a:pt x="10168" y="26834"/>
                  </a:lnTo>
                  <a:lnTo>
                    <a:pt x="10034" y="26531"/>
                  </a:lnTo>
                  <a:lnTo>
                    <a:pt x="9899" y="26195"/>
                  </a:lnTo>
                  <a:lnTo>
                    <a:pt x="9764" y="25858"/>
                  </a:lnTo>
                  <a:lnTo>
                    <a:pt x="9596" y="25185"/>
                  </a:lnTo>
                  <a:lnTo>
                    <a:pt x="9461" y="24511"/>
                  </a:lnTo>
                  <a:lnTo>
                    <a:pt x="9327" y="23872"/>
                  </a:lnTo>
                  <a:lnTo>
                    <a:pt x="9125" y="22626"/>
                  </a:lnTo>
                  <a:lnTo>
                    <a:pt x="8923" y="21346"/>
                  </a:lnTo>
                  <a:lnTo>
                    <a:pt x="8822" y="20707"/>
                  </a:lnTo>
                  <a:lnTo>
                    <a:pt x="8687" y="20101"/>
                  </a:lnTo>
                  <a:lnTo>
                    <a:pt x="8519" y="19495"/>
                  </a:lnTo>
                  <a:lnTo>
                    <a:pt x="8317" y="18889"/>
                  </a:lnTo>
                  <a:lnTo>
                    <a:pt x="8350" y="18922"/>
                  </a:lnTo>
                  <a:lnTo>
                    <a:pt x="9259" y="19764"/>
                  </a:lnTo>
                  <a:lnTo>
                    <a:pt x="9697" y="20168"/>
                  </a:lnTo>
                  <a:lnTo>
                    <a:pt x="10135" y="20572"/>
                  </a:lnTo>
                  <a:lnTo>
                    <a:pt x="10539" y="20875"/>
                  </a:lnTo>
                  <a:lnTo>
                    <a:pt x="10741" y="21043"/>
                  </a:lnTo>
                  <a:lnTo>
                    <a:pt x="10909" y="21178"/>
                  </a:lnTo>
                  <a:lnTo>
                    <a:pt x="11212" y="21447"/>
                  </a:lnTo>
                  <a:lnTo>
                    <a:pt x="11347" y="21548"/>
                  </a:lnTo>
                  <a:lnTo>
                    <a:pt x="11549" y="21616"/>
                  </a:lnTo>
                  <a:lnTo>
                    <a:pt x="11616" y="21649"/>
                  </a:lnTo>
                  <a:lnTo>
                    <a:pt x="11683" y="21616"/>
                  </a:lnTo>
                  <a:lnTo>
                    <a:pt x="11717" y="21582"/>
                  </a:lnTo>
                  <a:lnTo>
                    <a:pt x="11717" y="21616"/>
                  </a:lnTo>
                  <a:lnTo>
                    <a:pt x="11751" y="21649"/>
                  </a:lnTo>
                  <a:lnTo>
                    <a:pt x="11919" y="21784"/>
                  </a:lnTo>
                  <a:lnTo>
                    <a:pt x="12121" y="21885"/>
                  </a:lnTo>
                  <a:lnTo>
                    <a:pt x="11616" y="21986"/>
                  </a:lnTo>
                  <a:lnTo>
                    <a:pt x="11380" y="22053"/>
                  </a:lnTo>
                  <a:lnTo>
                    <a:pt x="11178" y="22155"/>
                  </a:lnTo>
                  <a:lnTo>
                    <a:pt x="11111" y="22222"/>
                  </a:lnTo>
                  <a:lnTo>
                    <a:pt x="11111" y="22289"/>
                  </a:lnTo>
                  <a:lnTo>
                    <a:pt x="11178" y="22357"/>
                  </a:lnTo>
                  <a:lnTo>
                    <a:pt x="11246" y="22357"/>
                  </a:lnTo>
                  <a:lnTo>
                    <a:pt x="12525" y="22020"/>
                  </a:lnTo>
                  <a:lnTo>
                    <a:pt x="13805" y="21683"/>
                  </a:lnTo>
                  <a:lnTo>
                    <a:pt x="15084" y="21313"/>
                  </a:lnTo>
                  <a:lnTo>
                    <a:pt x="16363" y="20976"/>
                  </a:lnTo>
                  <a:lnTo>
                    <a:pt x="18686" y="20404"/>
                  </a:lnTo>
                  <a:lnTo>
                    <a:pt x="21009" y="19831"/>
                  </a:lnTo>
                  <a:lnTo>
                    <a:pt x="21110" y="20235"/>
                  </a:lnTo>
                  <a:lnTo>
                    <a:pt x="20841" y="20269"/>
                  </a:lnTo>
                  <a:lnTo>
                    <a:pt x="20538" y="20303"/>
                  </a:lnTo>
                  <a:lnTo>
                    <a:pt x="19932" y="20437"/>
                  </a:lnTo>
                  <a:lnTo>
                    <a:pt x="18821" y="20740"/>
                  </a:lnTo>
                  <a:lnTo>
                    <a:pt x="18013" y="20942"/>
                  </a:lnTo>
                  <a:lnTo>
                    <a:pt x="17239" y="21178"/>
                  </a:lnTo>
                  <a:lnTo>
                    <a:pt x="15690" y="21649"/>
                  </a:lnTo>
                  <a:lnTo>
                    <a:pt x="14108" y="22155"/>
                  </a:lnTo>
                  <a:lnTo>
                    <a:pt x="13333" y="22424"/>
                  </a:lnTo>
                  <a:lnTo>
                    <a:pt x="12525" y="22660"/>
                  </a:lnTo>
                  <a:lnTo>
                    <a:pt x="12188" y="22693"/>
                  </a:lnTo>
                  <a:lnTo>
                    <a:pt x="11852" y="22761"/>
                  </a:lnTo>
                  <a:lnTo>
                    <a:pt x="11683" y="22794"/>
                  </a:lnTo>
                  <a:lnTo>
                    <a:pt x="11515" y="22895"/>
                  </a:lnTo>
                  <a:lnTo>
                    <a:pt x="11414" y="22996"/>
                  </a:lnTo>
                  <a:lnTo>
                    <a:pt x="11313" y="23131"/>
                  </a:lnTo>
                  <a:lnTo>
                    <a:pt x="11313" y="23165"/>
                  </a:lnTo>
                  <a:lnTo>
                    <a:pt x="11347" y="23165"/>
                  </a:lnTo>
                  <a:lnTo>
                    <a:pt x="11784" y="23030"/>
                  </a:lnTo>
                  <a:lnTo>
                    <a:pt x="12222" y="22929"/>
                  </a:lnTo>
                  <a:lnTo>
                    <a:pt x="12660" y="22862"/>
                  </a:lnTo>
                  <a:lnTo>
                    <a:pt x="13097" y="22727"/>
                  </a:lnTo>
                  <a:lnTo>
                    <a:pt x="14545" y="22289"/>
                  </a:lnTo>
                  <a:lnTo>
                    <a:pt x="15993" y="21818"/>
                  </a:lnTo>
                  <a:lnTo>
                    <a:pt x="17306" y="21414"/>
                  </a:lnTo>
                  <a:lnTo>
                    <a:pt x="18653" y="21043"/>
                  </a:lnTo>
                  <a:lnTo>
                    <a:pt x="19259" y="20841"/>
                  </a:lnTo>
                  <a:lnTo>
                    <a:pt x="19898" y="20673"/>
                  </a:lnTo>
                  <a:lnTo>
                    <a:pt x="20538" y="20538"/>
                  </a:lnTo>
                  <a:lnTo>
                    <a:pt x="20875" y="20505"/>
                  </a:lnTo>
                  <a:lnTo>
                    <a:pt x="21178" y="20505"/>
                  </a:lnTo>
                  <a:lnTo>
                    <a:pt x="21346" y="21043"/>
                  </a:lnTo>
                  <a:lnTo>
                    <a:pt x="20740" y="21144"/>
                  </a:lnTo>
                  <a:lnTo>
                    <a:pt x="20134" y="21279"/>
                  </a:lnTo>
                  <a:lnTo>
                    <a:pt x="18922" y="21582"/>
                  </a:lnTo>
                  <a:lnTo>
                    <a:pt x="16498" y="22256"/>
                  </a:lnTo>
                  <a:lnTo>
                    <a:pt x="15252" y="22592"/>
                  </a:lnTo>
                  <a:lnTo>
                    <a:pt x="14007" y="22963"/>
                  </a:lnTo>
                  <a:lnTo>
                    <a:pt x="12761" y="23400"/>
                  </a:lnTo>
                  <a:lnTo>
                    <a:pt x="11549" y="23838"/>
                  </a:lnTo>
                  <a:lnTo>
                    <a:pt x="11515" y="23872"/>
                  </a:lnTo>
                  <a:lnTo>
                    <a:pt x="11515" y="23905"/>
                  </a:lnTo>
                  <a:lnTo>
                    <a:pt x="11549" y="23973"/>
                  </a:lnTo>
                  <a:lnTo>
                    <a:pt x="11582" y="23973"/>
                  </a:lnTo>
                  <a:lnTo>
                    <a:pt x="12188" y="23872"/>
                  </a:lnTo>
                  <a:lnTo>
                    <a:pt x="12794" y="23737"/>
                  </a:lnTo>
                  <a:lnTo>
                    <a:pt x="13367" y="23569"/>
                  </a:lnTo>
                  <a:lnTo>
                    <a:pt x="13973" y="23333"/>
                  </a:lnTo>
                  <a:lnTo>
                    <a:pt x="15151" y="22929"/>
                  </a:lnTo>
                  <a:lnTo>
                    <a:pt x="15724" y="22727"/>
                  </a:lnTo>
                  <a:lnTo>
                    <a:pt x="16330" y="22559"/>
                  </a:lnTo>
                  <a:lnTo>
                    <a:pt x="17575" y="22222"/>
                  </a:lnTo>
                  <a:lnTo>
                    <a:pt x="18855" y="21851"/>
                  </a:lnTo>
                  <a:lnTo>
                    <a:pt x="20134" y="21548"/>
                  </a:lnTo>
                  <a:lnTo>
                    <a:pt x="20774" y="21414"/>
                  </a:lnTo>
                  <a:lnTo>
                    <a:pt x="21414" y="21279"/>
                  </a:lnTo>
                  <a:lnTo>
                    <a:pt x="21750" y="22155"/>
                  </a:lnTo>
                  <a:lnTo>
                    <a:pt x="21919" y="22592"/>
                  </a:lnTo>
                  <a:lnTo>
                    <a:pt x="22154" y="22996"/>
                  </a:lnTo>
                  <a:lnTo>
                    <a:pt x="22188" y="23064"/>
                  </a:lnTo>
                  <a:lnTo>
                    <a:pt x="22255" y="23064"/>
                  </a:lnTo>
                  <a:lnTo>
                    <a:pt x="22356" y="23030"/>
                  </a:lnTo>
                  <a:lnTo>
                    <a:pt x="22390" y="22963"/>
                  </a:lnTo>
                  <a:lnTo>
                    <a:pt x="22525" y="22525"/>
                  </a:lnTo>
                  <a:lnTo>
                    <a:pt x="22592" y="22323"/>
                  </a:lnTo>
                  <a:lnTo>
                    <a:pt x="22659" y="22121"/>
                  </a:lnTo>
                  <a:lnTo>
                    <a:pt x="22760" y="22222"/>
                  </a:lnTo>
                  <a:lnTo>
                    <a:pt x="22861" y="22289"/>
                  </a:lnTo>
                  <a:lnTo>
                    <a:pt x="23131" y="22390"/>
                  </a:lnTo>
                  <a:lnTo>
                    <a:pt x="23164" y="22491"/>
                  </a:lnTo>
                  <a:lnTo>
                    <a:pt x="23198" y="22525"/>
                  </a:lnTo>
                  <a:lnTo>
                    <a:pt x="23232" y="22559"/>
                  </a:lnTo>
                  <a:lnTo>
                    <a:pt x="23333" y="22559"/>
                  </a:lnTo>
                  <a:lnTo>
                    <a:pt x="23400" y="22525"/>
                  </a:lnTo>
                  <a:lnTo>
                    <a:pt x="23434" y="22458"/>
                  </a:lnTo>
                  <a:lnTo>
                    <a:pt x="23434" y="22424"/>
                  </a:lnTo>
                  <a:lnTo>
                    <a:pt x="23400" y="22357"/>
                  </a:lnTo>
                  <a:lnTo>
                    <a:pt x="23400" y="22256"/>
                  </a:lnTo>
                  <a:lnTo>
                    <a:pt x="23366" y="22188"/>
                  </a:lnTo>
                  <a:lnTo>
                    <a:pt x="22962" y="20841"/>
                  </a:lnTo>
                  <a:lnTo>
                    <a:pt x="22558" y="19495"/>
                  </a:lnTo>
                  <a:lnTo>
                    <a:pt x="22121" y="18114"/>
                  </a:lnTo>
                  <a:lnTo>
                    <a:pt x="21750" y="16768"/>
                  </a:lnTo>
                  <a:lnTo>
                    <a:pt x="21582" y="16061"/>
                  </a:lnTo>
                  <a:lnTo>
                    <a:pt x="21414" y="15320"/>
                  </a:lnTo>
                  <a:lnTo>
                    <a:pt x="21178" y="13872"/>
                  </a:lnTo>
                  <a:lnTo>
                    <a:pt x="20908" y="12424"/>
                  </a:lnTo>
                  <a:lnTo>
                    <a:pt x="20774" y="11717"/>
                  </a:lnTo>
                  <a:lnTo>
                    <a:pt x="20639" y="10977"/>
                  </a:lnTo>
                  <a:lnTo>
                    <a:pt x="20437" y="10337"/>
                  </a:lnTo>
                  <a:lnTo>
                    <a:pt x="20269" y="9664"/>
                  </a:lnTo>
                  <a:lnTo>
                    <a:pt x="19898" y="8384"/>
                  </a:lnTo>
                  <a:lnTo>
                    <a:pt x="19528" y="6903"/>
                  </a:lnTo>
                  <a:lnTo>
                    <a:pt x="19360" y="6162"/>
                  </a:lnTo>
                  <a:lnTo>
                    <a:pt x="19158" y="5421"/>
                  </a:lnTo>
                  <a:lnTo>
                    <a:pt x="18855" y="4479"/>
                  </a:lnTo>
                  <a:lnTo>
                    <a:pt x="18552" y="3570"/>
                  </a:lnTo>
                  <a:lnTo>
                    <a:pt x="18451" y="3132"/>
                  </a:lnTo>
                  <a:lnTo>
                    <a:pt x="18350" y="2896"/>
                  </a:lnTo>
                  <a:lnTo>
                    <a:pt x="18282" y="2694"/>
                  </a:lnTo>
                  <a:lnTo>
                    <a:pt x="18518" y="2728"/>
                  </a:lnTo>
                  <a:lnTo>
                    <a:pt x="18821" y="2694"/>
                  </a:lnTo>
                  <a:lnTo>
                    <a:pt x="19494" y="2560"/>
                  </a:lnTo>
                  <a:lnTo>
                    <a:pt x="19494" y="2795"/>
                  </a:lnTo>
                  <a:lnTo>
                    <a:pt x="19528" y="3065"/>
                  </a:lnTo>
                  <a:lnTo>
                    <a:pt x="19629" y="3570"/>
                  </a:lnTo>
                  <a:lnTo>
                    <a:pt x="19764" y="4075"/>
                  </a:lnTo>
                  <a:lnTo>
                    <a:pt x="19932" y="4580"/>
                  </a:lnTo>
                  <a:lnTo>
                    <a:pt x="20100" y="5287"/>
                  </a:lnTo>
                  <a:lnTo>
                    <a:pt x="20269" y="5994"/>
                  </a:lnTo>
                  <a:lnTo>
                    <a:pt x="20572" y="7442"/>
                  </a:lnTo>
                  <a:lnTo>
                    <a:pt x="20740" y="8182"/>
                  </a:lnTo>
                  <a:lnTo>
                    <a:pt x="20908" y="8889"/>
                  </a:lnTo>
                  <a:lnTo>
                    <a:pt x="21312" y="10371"/>
                  </a:lnTo>
                  <a:lnTo>
                    <a:pt x="22154" y="13232"/>
                  </a:lnTo>
                  <a:lnTo>
                    <a:pt x="22962" y="16061"/>
                  </a:lnTo>
                  <a:lnTo>
                    <a:pt x="23366" y="17441"/>
                  </a:lnTo>
                  <a:lnTo>
                    <a:pt x="23737" y="18855"/>
                  </a:lnTo>
                  <a:lnTo>
                    <a:pt x="23972" y="19663"/>
                  </a:lnTo>
                  <a:lnTo>
                    <a:pt x="24275" y="20471"/>
                  </a:lnTo>
                  <a:lnTo>
                    <a:pt x="24275" y="19697"/>
                  </a:lnTo>
                  <a:lnTo>
                    <a:pt x="24107" y="19259"/>
                  </a:lnTo>
                  <a:lnTo>
                    <a:pt x="23972" y="18788"/>
                  </a:lnTo>
                  <a:lnTo>
                    <a:pt x="23602" y="17441"/>
                  </a:lnTo>
                  <a:lnTo>
                    <a:pt x="23232" y="16094"/>
                  </a:lnTo>
                  <a:lnTo>
                    <a:pt x="22457" y="13434"/>
                  </a:lnTo>
                  <a:lnTo>
                    <a:pt x="21649" y="10674"/>
                  </a:lnTo>
                  <a:lnTo>
                    <a:pt x="21245" y="9260"/>
                  </a:lnTo>
                  <a:lnTo>
                    <a:pt x="20875" y="7879"/>
                  </a:lnTo>
                  <a:lnTo>
                    <a:pt x="20605" y="6499"/>
                  </a:lnTo>
                  <a:lnTo>
                    <a:pt x="20302" y="5152"/>
                  </a:lnTo>
                  <a:lnTo>
                    <a:pt x="20134" y="4479"/>
                  </a:lnTo>
                  <a:lnTo>
                    <a:pt x="19932" y="3839"/>
                  </a:lnTo>
                  <a:lnTo>
                    <a:pt x="19764" y="3166"/>
                  </a:lnTo>
                  <a:lnTo>
                    <a:pt x="19629" y="2492"/>
                  </a:lnTo>
                  <a:lnTo>
                    <a:pt x="20504" y="2257"/>
                  </a:lnTo>
                  <a:lnTo>
                    <a:pt x="20976" y="2088"/>
                  </a:lnTo>
                  <a:lnTo>
                    <a:pt x="21818" y="1819"/>
                  </a:lnTo>
                  <a:lnTo>
                    <a:pt x="22626" y="1516"/>
                  </a:lnTo>
                  <a:lnTo>
                    <a:pt x="23434" y="1247"/>
                  </a:lnTo>
                  <a:lnTo>
                    <a:pt x="24275" y="1011"/>
                  </a:lnTo>
                  <a:lnTo>
                    <a:pt x="24275" y="742"/>
                  </a:lnTo>
                  <a:lnTo>
                    <a:pt x="24141" y="809"/>
                  </a:lnTo>
                  <a:lnTo>
                    <a:pt x="21851" y="1583"/>
                  </a:lnTo>
                  <a:lnTo>
                    <a:pt x="20706" y="1954"/>
                  </a:lnTo>
                  <a:lnTo>
                    <a:pt x="19595" y="2290"/>
                  </a:lnTo>
                  <a:lnTo>
                    <a:pt x="18922" y="2492"/>
                  </a:lnTo>
                  <a:lnTo>
                    <a:pt x="18518" y="2560"/>
                  </a:lnTo>
                  <a:lnTo>
                    <a:pt x="18350" y="2560"/>
                  </a:lnTo>
                  <a:lnTo>
                    <a:pt x="18215" y="2526"/>
                  </a:lnTo>
                  <a:lnTo>
                    <a:pt x="18181" y="2492"/>
                  </a:lnTo>
                  <a:lnTo>
                    <a:pt x="18047" y="2459"/>
                  </a:lnTo>
                  <a:lnTo>
                    <a:pt x="17609" y="2459"/>
                  </a:lnTo>
                  <a:lnTo>
                    <a:pt x="17340" y="2526"/>
                  </a:lnTo>
                  <a:lnTo>
                    <a:pt x="17205" y="2593"/>
                  </a:lnTo>
                  <a:lnTo>
                    <a:pt x="17104" y="2661"/>
                  </a:lnTo>
                  <a:lnTo>
                    <a:pt x="17003" y="2661"/>
                  </a:lnTo>
                  <a:lnTo>
                    <a:pt x="16969" y="2694"/>
                  </a:lnTo>
                  <a:lnTo>
                    <a:pt x="16969" y="2728"/>
                  </a:lnTo>
                  <a:lnTo>
                    <a:pt x="16969" y="2863"/>
                  </a:lnTo>
                  <a:lnTo>
                    <a:pt x="16969" y="2896"/>
                  </a:lnTo>
                  <a:lnTo>
                    <a:pt x="16296" y="3098"/>
                  </a:lnTo>
                  <a:lnTo>
                    <a:pt x="15623" y="3300"/>
                  </a:lnTo>
                  <a:lnTo>
                    <a:pt x="14242" y="3637"/>
                  </a:lnTo>
                  <a:lnTo>
                    <a:pt x="12862" y="3906"/>
                  </a:lnTo>
                  <a:lnTo>
                    <a:pt x="11481" y="4209"/>
                  </a:lnTo>
                  <a:lnTo>
                    <a:pt x="10707" y="4411"/>
                  </a:lnTo>
                  <a:lnTo>
                    <a:pt x="9933" y="4647"/>
                  </a:lnTo>
                  <a:lnTo>
                    <a:pt x="8418" y="5051"/>
                  </a:lnTo>
                  <a:lnTo>
                    <a:pt x="7812" y="5219"/>
                  </a:lnTo>
                  <a:lnTo>
                    <a:pt x="7239" y="5354"/>
                  </a:lnTo>
                  <a:lnTo>
                    <a:pt x="6869" y="5455"/>
                  </a:lnTo>
                  <a:lnTo>
                    <a:pt x="6667" y="5522"/>
                  </a:lnTo>
                  <a:lnTo>
                    <a:pt x="6532" y="5522"/>
                  </a:lnTo>
                  <a:lnTo>
                    <a:pt x="6532" y="5556"/>
                  </a:lnTo>
                  <a:lnTo>
                    <a:pt x="6532" y="5623"/>
                  </a:lnTo>
                  <a:lnTo>
                    <a:pt x="6095" y="5758"/>
                  </a:lnTo>
                  <a:lnTo>
                    <a:pt x="5859" y="5859"/>
                  </a:lnTo>
                  <a:lnTo>
                    <a:pt x="5657" y="5994"/>
                  </a:lnTo>
                  <a:lnTo>
                    <a:pt x="5489" y="6129"/>
                  </a:lnTo>
                  <a:lnTo>
                    <a:pt x="5320" y="6263"/>
                  </a:lnTo>
                  <a:lnTo>
                    <a:pt x="5186" y="6465"/>
                  </a:lnTo>
                  <a:lnTo>
                    <a:pt x="5085" y="6701"/>
                  </a:lnTo>
                  <a:lnTo>
                    <a:pt x="5017" y="6937"/>
                  </a:lnTo>
                  <a:lnTo>
                    <a:pt x="4984" y="7240"/>
                  </a:lnTo>
                  <a:lnTo>
                    <a:pt x="5017" y="7543"/>
                  </a:lnTo>
                  <a:lnTo>
                    <a:pt x="5051" y="7846"/>
                  </a:lnTo>
                  <a:lnTo>
                    <a:pt x="5219" y="8418"/>
                  </a:lnTo>
                  <a:lnTo>
                    <a:pt x="5354" y="8957"/>
                  </a:lnTo>
                  <a:lnTo>
                    <a:pt x="5691" y="10674"/>
                  </a:lnTo>
                  <a:lnTo>
                    <a:pt x="6095" y="12391"/>
                  </a:lnTo>
                  <a:lnTo>
                    <a:pt x="6229" y="12963"/>
                  </a:lnTo>
                  <a:lnTo>
                    <a:pt x="6398" y="13535"/>
                  </a:lnTo>
                  <a:lnTo>
                    <a:pt x="6768" y="14647"/>
                  </a:lnTo>
                  <a:lnTo>
                    <a:pt x="6330" y="14243"/>
                  </a:lnTo>
                  <a:lnTo>
                    <a:pt x="5893" y="13805"/>
                  </a:lnTo>
                  <a:lnTo>
                    <a:pt x="5792" y="13333"/>
                  </a:lnTo>
                  <a:lnTo>
                    <a:pt x="5691" y="12862"/>
                  </a:lnTo>
                  <a:lnTo>
                    <a:pt x="5421" y="11919"/>
                  </a:lnTo>
                  <a:lnTo>
                    <a:pt x="5118" y="10977"/>
                  </a:lnTo>
                  <a:lnTo>
                    <a:pt x="4815" y="10034"/>
                  </a:lnTo>
                  <a:lnTo>
                    <a:pt x="4579" y="9226"/>
                  </a:lnTo>
                  <a:lnTo>
                    <a:pt x="4310" y="8384"/>
                  </a:lnTo>
                  <a:lnTo>
                    <a:pt x="4209" y="8014"/>
                  </a:lnTo>
                  <a:lnTo>
                    <a:pt x="4142" y="7644"/>
                  </a:lnTo>
                  <a:lnTo>
                    <a:pt x="4007" y="6903"/>
                  </a:lnTo>
                  <a:lnTo>
                    <a:pt x="4041" y="6869"/>
                  </a:lnTo>
                  <a:lnTo>
                    <a:pt x="4041" y="6802"/>
                  </a:lnTo>
                  <a:lnTo>
                    <a:pt x="4007" y="6566"/>
                  </a:lnTo>
                  <a:lnTo>
                    <a:pt x="4041" y="6364"/>
                  </a:lnTo>
                  <a:lnTo>
                    <a:pt x="4108" y="6196"/>
                  </a:lnTo>
                  <a:lnTo>
                    <a:pt x="4243" y="6027"/>
                  </a:lnTo>
                  <a:lnTo>
                    <a:pt x="4411" y="5859"/>
                  </a:lnTo>
                  <a:lnTo>
                    <a:pt x="4579" y="5724"/>
                  </a:lnTo>
                  <a:lnTo>
                    <a:pt x="4815" y="5590"/>
                  </a:lnTo>
                  <a:lnTo>
                    <a:pt x="5051" y="5489"/>
                  </a:lnTo>
                  <a:lnTo>
                    <a:pt x="5556" y="5287"/>
                  </a:lnTo>
                  <a:lnTo>
                    <a:pt x="6095" y="5152"/>
                  </a:lnTo>
                  <a:lnTo>
                    <a:pt x="6903" y="4916"/>
                  </a:lnTo>
                  <a:lnTo>
                    <a:pt x="9663" y="4075"/>
                  </a:lnTo>
                  <a:lnTo>
                    <a:pt x="11077" y="3671"/>
                  </a:lnTo>
                  <a:lnTo>
                    <a:pt x="12458" y="3300"/>
                  </a:lnTo>
                  <a:lnTo>
                    <a:pt x="15421" y="2593"/>
                  </a:lnTo>
                  <a:lnTo>
                    <a:pt x="18383" y="1886"/>
                  </a:lnTo>
                  <a:lnTo>
                    <a:pt x="19865" y="1516"/>
                  </a:lnTo>
                  <a:lnTo>
                    <a:pt x="21346" y="1146"/>
                  </a:lnTo>
                  <a:lnTo>
                    <a:pt x="22828" y="742"/>
                  </a:lnTo>
                  <a:lnTo>
                    <a:pt x="24275" y="304"/>
                  </a:lnTo>
                  <a:lnTo>
                    <a:pt x="24275"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03" name="Google Shape;1803;p12"/>
            <p:cNvSpPr/>
            <p:nvPr/>
          </p:nvSpPr>
          <p:spPr>
            <a:xfrm>
              <a:off x="6823542" y="2472767"/>
              <a:ext cx="38614" cy="16769"/>
            </a:xfrm>
            <a:custGeom>
              <a:avLst/>
              <a:gdLst/>
              <a:ahLst/>
              <a:cxnLst/>
              <a:rect l="l" t="t" r="r" b="b"/>
              <a:pathLst>
                <a:path w="776" h="337" extrusionOk="0">
                  <a:moveTo>
                    <a:pt x="775" y="0"/>
                  </a:moveTo>
                  <a:lnTo>
                    <a:pt x="371" y="101"/>
                  </a:lnTo>
                  <a:lnTo>
                    <a:pt x="203" y="202"/>
                  </a:lnTo>
                  <a:lnTo>
                    <a:pt x="1" y="303"/>
                  </a:lnTo>
                  <a:lnTo>
                    <a:pt x="1" y="337"/>
                  </a:lnTo>
                  <a:lnTo>
                    <a:pt x="405" y="337"/>
                  </a:lnTo>
                  <a:lnTo>
                    <a:pt x="775" y="269"/>
                  </a:lnTo>
                  <a:lnTo>
                    <a:pt x="775"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04" name="Google Shape;1804;p12"/>
            <p:cNvSpPr/>
            <p:nvPr/>
          </p:nvSpPr>
          <p:spPr>
            <a:xfrm>
              <a:off x="6810156" y="2378920"/>
              <a:ext cx="51999" cy="28512"/>
            </a:xfrm>
            <a:custGeom>
              <a:avLst/>
              <a:gdLst/>
              <a:ahLst/>
              <a:cxnLst/>
              <a:rect l="l" t="t" r="r" b="b"/>
              <a:pathLst>
                <a:path w="1045" h="573" extrusionOk="0">
                  <a:moveTo>
                    <a:pt x="1044" y="1"/>
                  </a:moveTo>
                  <a:lnTo>
                    <a:pt x="573" y="236"/>
                  </a:lnTo>
                  <a:lnTo>
                    <a:pt x="337" y="304"/>
                  </a:lnTo>
                  <a:lnTo>
                    <a:pt x="68" y="371"/>
                  </a:lnTo>
                  <a:lnTo>
                    <a:pt x="1" y="405"/>
                  </a:lnTo>
                  <a:lnTo>
                    <a:pt x="1" y="472"/>
                  </a:lnTo>
                  <a:lnTo>
                    <a:pt x="34" y="506"/>
                  </a:lnTo>
                  <a:lnTo>
                    <a:pt x="68" y="573"/>
                  </a:lnTo>
                  <a:lnTo>
                    <a:pt x="304" y="573"/>
                  </a:lnTo>
                  <a:lnTo>
                    <a:pt x="573" y="539"/>
                  </a:lnTo>
                  <a:lnTo>
                    <a:pt x="809" y="438"/>
                  </a:lnTo>
                  <a:lnTo>
                    <a:pt x="1044" y="337"/>
                  </a:lnTo>
                  <a:lnTo>
                    <a:pt x="1044"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05" name="Google Shape;1805;p12"/>
            <p:cNvSpPr/>
            <p:nvPr/>
          </p:nvSpPr>
          <p:spPr>
            <a:xfrm>
              <a:off x="6842003" y="2509590"/>
              <a:ext cx="20153" cy="16819"/>
            </a:xfrm>
            <a:custGeom>
              <a:avLst/>
              <a:gdLst/>
              <a:ahLst/>
              <a:cxnLst/>
              <a:rect l="l" t="t" r="r" b="b"/>
              <a:pathLst>
                <a:path w="405" h="338" extrusionOk="0">
                  <a:moveTo>
                    <a:pt x="404" y="1"/>
                  </a:moveTo>
                  <a:lnTo>
                    <a:pt x="236" y="68"/>
                  </a:lnTo>
                  <a:lnTo>
                    <a:pt x="68" y="135"/>
                  </a:lnTo>
                  <a:lnTo>
                    <a:pt x="0" y="203"/>
                  </a:lnTo>
                  <a:lnTo>
                    <a:pt x="0" y="270"/>
                  </a:lnTo>
                  <a:lnTo>
                    <a:pt x="34" y="304"/>
                  </a:lnTo>
                  <a:lnTo>
                    <a:pt x="101" y="337"/>
                  </a:lnTo>
                  <a:lnTo>
                    <a:pt x="270" y="337"/>
                  </a:lnTo>
                  <a:lnTo>
                    <a:pt x="404" y="304"/>
                  </a:lnTo>
                  <a:lnTo>
                    <a:pt x="404"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grpSp>
      <p:grpSp>
        <p:nvGrpSpPr>
          <p:cNvPr id="1806" name="Google Shape;1806;p12"/>
          <p:cNvGrpSpPr/>
          <p:nvPr/>
        </p:nvGrpSpPr>
        <p:grpSpPr>
          <a:xfrm>
            <a:off x="10808943" y="4677433"/>
            <a:ext cx="1382797" cy="1968041"/>
            <a:chOff x="5825057" y="3508074"/>
            <a:chExt cx="1037098" cy="1476031"/>
          </a:xfrm>
        </p:grpSpPr>
        <p:sp>
          <p:nvSpPr>
            <p:cNvPr id="1807" name="Google Shape;1807;p12"/>
            <p:cNvSpPr/>
            <p:nvPr/>
          </p:nvSpPr>
          <p:spPr>
            <a:xfrm>
              <a:off x="5825057" y="3508074"/>
              <a:ext cx="1037098" cy="1476031"/>
            </a:xfrm>
            <a:custGeom>
              <a:avLst/>
              <a:gdLst/>
              <a:ahLst/>
              <a:cxnLst/>
              <a:rect l="l" t="t" r="r" b="b"/>
              <a:pathLst>
                <a:path w="20842" h="29663" extrusionOk="0">
                  <a:moveTo>
                    <a:pt x="19394" y="10707"/>
                  </a:moveTo>
                  <a:lnTo>
                    <a:pt x="19427" y="10876"/>
                  </a:lnTo>
                  <a:lnTo>
                    <a:pt x="19495" y="11044"/>
                  </a:lnTo>
                  <a:lnTo>
                    <a:pt x="19663" y="11347"/>
                  </a:lnTo>
                  <a:lnTo>
                    <a:pt x="19865" y="11616"/>
                  </a:lnTo>
                  <a:lnTo>
                    <a:pt x="19966" y="11717"/>
                  </a:lnTo>
                  <a:lnTo>
                    <a:pt x="20101" y="11818"/>
                  </a:lnTo>
                  <a:lnTo>
                    <a:pt x="19865" y="12458"/>
                  </a:lnTo>
                  <a:lnTo>
                    <a:pt x="19798" y="12357"/>
                  </a:lnTo>
                  <a:lnTo>
                    <a:pt x="19730" y="12222"/>
                  </a:lnTo>
                  <a:lnTo>
                    <a:pt x="19495" y="11785"/>
                  </a:lnTo>
                  <a:lnTo>
                    <a:pt x="19326" y="11549"/>
                  </a:lnTo>
                  <a:lnTo>
                    <a:pt x="19225" y="11414"/>
                  </a:lnTo>
                  <a:lnTo>
                    <a:pt x="19091" y="11347"/>
                  </a:lnTo>
                  <a:lnTo>
                    <a:pt x="19394" y="10707"/>
                  </a:lnTo>
                  <a:close/>
                  <a:moveTo>
                    <a:pt x="19023" y="11448"/>
                  </a:moveTo>
                  <a:lnTo>
                    <a:pt x="19225" y="11717"/>
                  </a:lnTo>
                  <a:lnTo>
                    <a:pt x="19394" y="12020"/>
                  </a:lnTo>
                  <a:lnTo>
                    <a:pt x="19528" y="12357"/>
                  </a:lnTo>
                  <a:lnTo>
                    <a:pt x="19629" y="12525"/>
                  </a:lnTo>
                  <a:lnTo>
                    <a:pt x="19764" y="12626"/>
                  </a:lnTo>
                  <a:lnTo>
                    <a:pt x="19798" y="12626"/>
                  </a:lnTo>
                  <a:lnTo>
                    <a:pt x="19629" y="13165"/>
                  </a:lnTo>
                  <a:lnTo>
                    <a:pt x="19394" y="12828"/>
                  </a:lnTo>
                  <a:lnTo>
                    <a:pt x="19192" y="12424"/>
                  </a:lnTo>
                  <a:lnTo>
                    <a:pt x="18990" y="12020"/>
                  </a:lnTo>
                  <a:lnTo>
                    <a:pt x="18956" y="12020"/>
                  </a:lnTo>
                  <a:lnTo>
                    <a:pt x="18922" y="12054"/>
                  </a:lnTo>
                  <a:lnTo>
                    <a:pt x="18956" y="12256"/>
                  </a:lnTo>
                  <a:lnTo>
                    <a:pt x="19023" y="12458"/>
                  </a:lnTo>
                  <a:lnTo>
                    <a:pt x="19192" y="12828"/>
                  </a:lnTo>
                  <a:lnTo>
                    <a:pt x="19360" y="13098"/>
                  </a:lnTo>
                  <a:lnTo>
                    <a:pt x="19427" y="13266"/>
                  </a:lnTo>
                  <a:lnTo>
                    <a:pt x="19562" y="13367"/>
                  </a:lnTo>
                  <a:lnTo>
                    <a:pt x="19259" y="14108"/>
                  </a:lnTo>
                  <a:lnTo>
                    <a:pt x="19192" y="13973"/>
                  </a:lnTo>
                  <a:lnTo>
                    <a:pt x="19091" y="13805"/>
                  </a:lnTo>
                  <a:lnTo>
                    <a:pt x="18922" y="13535"/>
                  </a:lnTo>
                  <a:lnTo>
                    <a:pt x="18687" y="13098"/>
                  </a:lnTo>
                  <a:lnTo>
                    <a:pt x="18417" y="12694"/>
                  </a:lnTo>
                  <a:lnTo>
                    <a:pt x="18821" y="11919"/>
                  </a:lnTo>
                  <a:lnTo>
                    <a:pt x="19023" y="11448"/>
                  </a:lnTo>
                  <a:close/>
                  <a:moveTo>
                    <a:pt x="18350" y="12828"/>
                  </a:moveTo>
                  <a:lnTo>
                    <a:pt x="18518" y="13199"/>
                  </a:lnTo>
                  <a:lnTo>
                    <a:pt x="18687" y="13535"/>
                  </a:lnTo>
                  <a:lnTo>
                    <a:pt x="18889" y="13939"/>
                  </a:lnTo>
                  <a:lnTo>
                    <a:pt x="19023" y="14142"/>
                  </a:lnTo>
                  <a:lnTo>
                    <a:pt x="19158" y="14276"/>
                  </a:lnTo>
                  <a:lnTo>
                    <a:pt x="19124" y="14377"/>
                  </a:lnTo>
                  <a:lnTo>
                    <a:pt x="18922" y="14781"/>
                  </a:lnTo>
                  <a:lnTo>
                    <a:pt x="18788" y="14512"/>
                  </a:lnTo>
                  <a:lnTo>
                    <a:pt x="18653" y="14310"/>
                  </a:lnTo>
                  <a:lnTo>
                    <a:pt x="18384" y="13805"/>
                  </a:lnTo>
                  <a:lnTo>
                    <a:pt x="18249" y="13535"/>
                  </a:lnTo>
                  <a:lnTo>
                    <a:pt x="18215" y="13401"/>
                  </a:lnTo>
                  <a:lnTo>
                    <a:pt x="18215" y="13266"/>
                  </a:lnTo>
                  <a:lnTo>
                    <a:pt x="18215" y="13232"/>
                  </a:lnTo>
                  <a:lnTo>
                    <a:pt x="18182" y="13266"/>
                  </a:lnTo>
                  <a:lnTo>
                    <a:pt x="18182" y="13266"/>
                  </a:lnTo>
                  <a:lnTo>
                    <a:pt x="18350" y="12828"/>
                  </a:lnTo>
                  <a:close/>
                  <a:moveTo>
                    <a:pt x="18182" y="13266"/>
                  </a:moveTo>
                  <a:lnTo>
                    <a:pt x="18148" y="13468"/>
                  </a:lnTo>
                  <a:lnTo>
                    <a:pt x="18148" y="13670"/>
                  </a:lnTo>
                  <a:lnTo>
                    <a:pt x="18215" y="13872"/>
                  </a:lnTo>
                  <a:lnTo>
                    <a:pt x="18316" y="14074"/>
                  </a:lnTo>
                  <a:lnTo>
                    <a:pt x="18518" y="14546"/>
                  </a:lnTo>
                  <a:lnTo>
                    <a:pt x="18653" y="14781"/>
                  </a:lnTo>
                  <a:lnTo>
                    <a:pt x="18788" y="15017"/>
                  </a:lnTo>
                  <a:lnTo>
                    <a:pt x="18619" y="15387"/>
                  </a:lnTo>
                  <a:lnTo>
                    <a:pt x="18552" y="15185"/>
                  </a:lnTo>
                  <a:lnTo>
                    <a:pt x="18451" y="14983"/>
                  </a:lnTo>
                  <a:lnTo>
                    <a:pt x="18249" y="14613"/>
                  </a:lnTo>
                  <a:lnTo>
                    <a:pt x="18081" y="14310"/>
                  </a:lnTo>
                  <a:lnTo>
                    <a:pt x="17980" y="14175"/>
                  </a:lnTo>
                  <a:lnTo>
                    <a:pt x="17845" y="14041"/>
                  </a:lnTo>
                  <a:lnTo>
                    <a:pt x="18182" y="13266"/>
                  </a:lnTo>
                  <a:close/>
                  <a:moveTo>
                    <a:pt x="17777" y="14209"/>
                  </a:moveTo>
                  <a:lnTo>
                    <a:pt x="17946" y="14512"/>
                  </a:lnTo>
                  <a:lnTo>
                    <a:pt x="18114" y="14781"/>
                  </a:lnTo>
                  <a:lnTo>
                    <a:pt x="18283" y="15185"/>
                  </a:lnTo>
                  <a:lnTo>
                    <a:pt x="18384" y="15387"/>
                  </a:lnTo>
                  <a:lnTo>
                    <a:pt x="18485" y="15589"/>
                  </a:lnTo>
                  <a:lnTo>
                    <a:pt x="18518" y="15589"/>
                  </a:lnTo>
                  <a:lnTo>
                    <a:pt x="18283" y="16094"/>
                  </a:lnTo>
                  <a:lnTo>
                    <a:pt x="18081" y="15758"/>
                  </a:lnTo>
                  <a:lnTo>
                    <a:pt x="17845" y="15286"/>
                  </a:lnTo>
                  <a:lnTo>
                    <a:pt x="17609" y="14815"/>
                  </a:lnTo>
                  <a:lnTo>
                    <a:pt x="17575" y="14781"/>
                  </a:lnTo>
                  <a:lnTo>
                    <a:pt x="17542" y="14781"/>
                  </a:lnTo>
                  <a:lnTo>
                    <a:pt x="17777" y="14209"/>
                  </a:lnTo>
                  <a:close/>
                  <a:moveTo>
                    <a:pt x="17508" y="14882"/>
                  </a:moveTo>
                  <a:lnTo>
                    <a:pt x="17575" y="15084"/>
                  </a:lnTo>
                  <a:lnTo>
                    <a:pt x="17643" y="15286"/>
                  </a:lnTo>
                  <a:lnTo>
                    <a:pt x="17811" y="15657"/>
                  </a:lnTo>
                  <a:lnTo>
                    <a:pt x="18148" y="16364"/>
                  </a:lnTo>
                  <a:lnTo>
                    <a:pt x="17878" y="16970"/>
                  </a:lnTo>
                  <a:lnTo>
                    <a:pt x="17643" y="16532"/>
                  </a:lnTo>
                  <a:lnTo>
                    <a:pt x="17407" y="16128"/>
                  </a:lnTo>
                  <a:lnTo>
                    <a:pt x="17205" y="15758"/>
                  </a:lnTo>
                  <a:lnTo>
                    <a:pt x="17508" y="14882"/>
                  </a:lnTo>
                  <a:close/>
                  <a:moveTo>
                    <a:pt x="17138" y="15892"/>
                  </a:moveTo>
                  <a:lnTo>
                    <a:pt x="17474" y="16633"/>
                  </a:lnTo>
                  <a:lnTo>
                    <a:pt x="17609" y="16902"/>
                  </a:lnTo>
                  <a:lnTo>
                    <a:pt x="17777" y="17205"/>
                  </a:lnTo>
                  <a:lnTo>
                    <a:pt x="17643" y="17441"/>
                  </a:lnTo>
                  <a:lnTo>
                    <a:pt x="17373" y="16936"/>
                  </a:lnTo>
                  <a:lnTo>
                    <a:pt x="17003" y="16229"/>
                  </a:lnTo>
                  <a:lnTo>
                    <a:pt x="17138" y="15892"/>
                  </a:lnTo>
                  <a:close/>
                  <a:moveTo>
                    <a:pt x="16936" y="16431"/>
                  </a:moveTo>
                  <a:lnTo>
                    <a:pt x="17037" y="16768"/>
                  </a:lnTo>
                  <a:lnTo>
                    <a:pt x="17171" y="17104"/>
                  </a:lnTo>
                  <a:lnTo>
                    <a:pt x="17340" y="17441"/>
                  </a:lnTo>
                  <a:lnTo>
                    <a:pt x="17441" y="17576"/>
                  </a:lnTo>
                  <a:lnTo>
                    <a:pt x="17542" y="17677"/>
                  </a:lnTo>
                  <a:lnTo>
                    <a:pt x="17340" y="18114"/>
                  </a:lnTo>
                  <a:lnTo>
                    <a:pt x="17104" y="17677"/>
                  </a:lnTo>
                  <a:lnTo>
                    <a:pt x="16936" y="17374"/>
                  </a:lnTo>
                  <a:lnTo>
                    <a:pt x="16700" y="17037"/>
                  </a:lnTo>
                  <a:lnTo>
                    <a:pt x="16936" y="16431"/>
                  </a:lnTo>
                  <a:close/>
                  <a:moveTo>
                    <a:pt x="16666" y="17172"/>
                  </a:moveTo>
                  <a:lnTo>
                    <a:pt x="16868" y="17542"/>
                  </a:lnTo>
                  <a:lnTo>
                    <a:pt x="17037" y="17912"/>
                  </a:lnTo>
                  <a:lnTo>
                    <a:pt x="17104" y="18148"/>
                  </a:lnTo>
                  <a:lnTo>
                    <a:pt x="17239" y="18384"/>
                  </a:lnTo>
                  <a:lnTo>
                    <a:pt x="16902" y="19124"/>
                  </a:lnTo>
                  <a:lnTo>
                    <a:pt x="16767" y="18922"/>
                  </a:lnTo>
                  <a:lnTo>
                    <a:pt x="16532" y="18316"/>
                  </a:lnTo>
                  <a:lnTo>
                    <a:pt x="16464" y="18148"/>
                  </a:lnTo>
                  <a:lnTo>
                    <a:pt x="16397" y="18081"/>
                  </a:lnTo>
                  <a:lnTo>
                    <a:pt x="16363" y="18013"/>
                  </a:lnTo>
                  <a:lnTo>
                    <a:pt x="16464" y="17744"/>
                  </a:lnTo>
                  <a:lnTo>
                    <a:pt x="16666" y="17172"/>
                  </a:lnTo>
                  <a:close/>
                  <a:moveTo>
                    <a:pt x="6499" y="8654"/>
                  </a:moveTo>
                  <a:lnTo>
                    <a:pt x="9428" y="9866"/>
                  </a:lnTo>
                  <a:lnTo>
                    <a:pt x="10876" y="10472"/>
                  </a:lnTo>
                  <a:lnTo>
                    <a:pt x="12323" y="11111"/>
                  </a:lnTo>
                  <a:lnTo>
                    <a:pt x="13030" y="11414"/>
                  </a:lnTo>
                  <a:lnTo>
                    <a:pt x="13771" y="11684"/>
                  </a:lnTo>
                  <a:lnTo>
                    <a:pt x="14478" y="11987"/>
                  </a:lnTo>
                  <a:lnTo>
                    <a:pt x="15185" y="12290"/>
                  </a:lnTo>
                  <a:lnTo>
                    <a:pt x="16464" y="12963"/>
                  </a:lnTo>
                  <a:lnTo>
                    <a:pt x="17104" y="13232"/>
                  </a:lnTo>
                  <a:lnTo>
                    <a:pt x="17441" y="13367"/>
                  </a:lnTo>
                  <a:lnTo>
                    <a:pt x="17811" y="13468"/>
                  </a:lnTo>
                  <a:lnTo>
                    <a:pt x="17138" y="15084"/>
                  </a:lnTo>
                  <a:lnTo>
                    <a:pt x="16801" y="15892"/>
                  </a:lnTo>
                  <a:lnTo>
                    <a:pt x="16532" y="16734"/>
                  </a:lnTo>
                  <a:lnTo>
                    <a:pt x="16027" y="18047"/>
                  </a:lnTo>
                  <a:lnTo>
                    <a:pt x="15488" y="19326"/>
                  </a:lnTo>
                  <a:lnTo>
                    <a:pt x="14882" y="19023"/>
                  </a:lnTo>
                  <a:lnTo>
                    <a:pt x="14276" y="18788"/>
                  </a:lnTo>
                  <a:lnTo>
                    <a:pt x="13030" y="18316"/>
                  </a:lnTo>
                  <a:lnTo>
                    <a:pt x="12290" y="17980"/>
                  </a:lnTo>
                  <a:lnTo>
                    <a:pt x="11583" y="17643"/>
                  </a:lnTo>
                  <a:lnTo>
                    <a:pt x="10876" y="17273"/>
                  </a:lnTo>
                  <a:lnTo>
                    <a:pt x="10135" y="16970"/>
                  </a:lnTo>
                  <a:lnTo>
                    <a:pt x="8586" y="16330"/>
                  </a:lnTo>
                  <a:lnTo>
                    <a:pt x="7037" y="15657"/>
                  </a:lnTo>
                  <a:lnTo>
                    <a:pt x="5455" y="14983"/>
                  </a:lnTo>
                  <a:lnTo>
                    <a:pt x="4681" y="14680"/>
                  </a:lnTo>
                  <a:lnTo>
                    <a:pt x="3873" y="14377"/>
                  </a:lnTo>
                  <a:lnTo>
                    <a:pt x="3906" y="14310"/>
                  </a:lnTo>
                  <a:lnTo>
                    <a:pt x="4815" y="12290"/>
                  </a:lnTo>
                  <a:lnTo>
                    <a:pt x="5724" y="10303"/>
                  </a:lnTo>
                  <a:lnTo>
                    <a:pt x="6499" y="8654"/>
                  </a:lnTo>
                  <a:close/>
                  <a:moveTo>
                    <a:pt x="16262" y="18215"/>
                  </a:moveTo>
                  <a:lnTo>
                    <a:pt x="16330" y="18485"/>
                  </a:lnTo>
                  <a:lnTo>
                    <a:pt x="16431" y="18821"/>
                  </a:lnTo>
                  <a:lnTo>
                    <a:pt x="16599" y="19158"/>
                  </a:lnTo>
                  <a:lnTo>
                    <a:pt x="16767" y="19427"/>
                  </a:lnTo>
                  <a:lnTo>
                    <a:pt x="16599" y="19730"/>
                  </a:lnTo>
                  <a:lnTo>
                    <a:pt x="16397" y="19192"/>
                  </a:lnTo>
                  <a:lnTo>
                    <a:pt x="16229" y="18922"/>
                  </a:lnTo>
                  <a:lnTo>
                    <a:pt x="16060" y="18720"/>
                  </a:lnTo>
                  <a:lnTo>
                    <a:pt x="16262" y="18215"/>
                  </a:lnTo>
                  <a:close/>
                  <a:moveTo>
                    <a:pt x="15993" y="18855"/>
                  </a:moveTo>
                  <a:lnTo>
                    <a:pt x="16229" y="19427"/>
                  </a:lnTo>
                  <a:lnTo>
                    <a:pt x="16363" y="19730"/>
                  </a:lnTo>
                  <a:lnTo>
                    <a:pt x="16498" y="20000"/>
                  </a:lnTo>
                  <a:lnTo>
                    <a:pt x="16363" y="20303"/>
                  </a:lnTo>
                  <a:lnTo>
                    <a:pt x="16195" y="20000"/>
                  </a:lnTo>
                  <a:lnTo>
                    <a:pt x="16027" y="19596"/>
                  </a:lnTo>
                  <a:lnTo>
                    <a:pt x="15892" y="19158"/>
                  </a:lnTo>
                  <a:lnTo>
                    <a:pt x="15993" y="18855"/>
                  </a:lnTo>
                  <a:close/>
                  <a:moveTo>
                    <a:pt x="15791" y="19394"/>
                  </a:moveTo>
                  <a:lnTo>
                    <a:pt x="15858" y="19764"/>
                  </a:lnTo>
                  <a:lnTo>
                    <a:pt x="15926" y="20067"/>
                  </a:lnTo>
                  <a:lnTo>
                    <a:pt x="16027" y="20370"/>
                  </a:lnTo>
                  <a:lnTo>
                    <a:pt x="16094" y="20505"/>
                  </a:lnTo>
                  <a:lnTo>
                    <a:pt x="16195" y="20639"/>
                  </a:lnTo>
                  <a:lnTo>
                    <a:pt x="16060" y="20942"/>
                  </a:lnTo>
                  <a:lnTo>
                    <a:pt x="15858" y="20505"/>
                  </a:lnTo>
                  <a:lnTo>
                    <a:pt x="15724" y="20235"/>
                  </a:lnTo>
                  <a:lnTo>
                    <a:pt x="15589" y="19932"/>
                  </a:lnTo>
                  <a:lnTo>
                    <a:pt x="15791" y="19394"/>
                  </a:lnTo>
                  <a:close/>
                  <a:moveTo>
                    <a:pt x="15522" y="20067"/>
                  </a:moveTo>
                  <a:lnTo>
                    <a:pt x="15757" y="20740"/>
                  </a:lnTo>
                  <a:lnTo>
                    <a:pt x="15825" y="20976"/>
                  </a:lnTo>
                  <a:lnTo>
                    <a:pt x="15892" y="21111"/>
                  </a:lnTo>
                  <a:lnTo>
                    <a:pt x="15959" y="21212"/>
                  </a:lnTo>
                  <a:lnTo>
                    <a:pt x="15858" y="21447"/>
                  </a:lnTo>
                  <a:lnTo>
                    <a:pt x="15690" y="21144"/>
                  </a:lnTo>
                  <a:lnTo>
                    <a:pt x="15353" y="20437"/>
                  </a:lnTo>
                  <a:lnTo>
                    <a:pt x="15522" y="20067"/>
                  </a:lnTo>
                  <a:close/>
                  <a:moveTo>
                    <a:pt x="15286" y="20606"/>
                  </a:moveTo>
                  <a:lnTo>
                    <a:pt x="15488" y="21245"/>
                  </a:lnTo>
                  <a:lnTo>
                    <a:pt x="15589" y="21515"/>
                  </a:lnTo>
                  <a:lnTo>
                    <a:pt x="15724" y="21750"/>
                  </a:lnTo>
                  <a:lnTo>
                    <a:pt x="15555" y="22155"/>
                  </a:lnTo>
                  <a:lnTo>
                    <a:pt x="15454" y="21919"/>
                  </a:lnTo>
                  <a:lnTo>
                    <a:pt x="15353" y="21683"/>
                  </a:lnTo>
                  <a:lnTo>
                    <a:pt x="15219" y="21414"/>
                  </a:lnTo>
                  <a:lnTo>
                    <a:pt x="15084" y="21144"/>
                  </a:lnTo>
                  <a:lnTo>
                    <a:pt x="15286" y="20606"/>
                  </a:lnTo>
                  <a:close/>
                  <a:moveTo>
                    <a:pt x="15017" y="21279"/>
                  </a:moveTo>
                  <a:lnTo>
                    <a:pt x="15185" y="21750"/>
                  </a:lnTo>
                  <a:lnTo>
                    <a:pt x="15286" y="22087"/>
                  </a:lnTo>
                  <a:lnTo>
                    <a:pt x="15353" y="22222"/>
                  </a:lnTo>
                  <a:lnTo>
                    <a:pt x="15454" y="22357"/>
                  </a:lnTo>
                  <a:lnTo>
                    <a:pt x="15488" y="22357"/>
                  </a:lnTo>
                  <a:lnTo>
                    <a:pt x="15320" y="22794"/>
                  </a:lnTo>
                  <a:lnTo>
                    <a:pt x="15151" y="22525"/>
                  </a:lnTo>
                  <a:lnTo>
                    <a:pt x="14949" y="22188"/>
                  </a:lnTo>
                  <a:lnTo>
                    <a:pt x="14781" y="21885"/>
                  </a:lnTo>
                  <a:lnTo>
                    <a:pt x="15017" y="21279"/>
                  </a:lnTo>
                  <a:close/>
                  <a:moveTo>
                    <a:pt x="14747" y="21986"/>
                  </a:moveTo>
                  <a:lnTo>
                    <a:pt x="14815" y="22289"/>
                  </a:lnTo>
                  <a:lnTo>
                    <a:pt x="14949" y="22525"/>
                  </a:lnTo>
                  <a:lnTo>
                    <a:pt x="15050" y="22794"/>
                  </a:lnTo>
                  <a:lnTo>
                    <a:pt x="15219" y="23064"/>
                  </a:lnTo>
                  <a:lnTo>
                    <a:pt x="15050" y="23400"/>
                  </a:lnTo>
                  <a:lnTo>
                    <a:pt x="14949" y="23198"/>
                  </a:lnTo>
                  <a:lnTo>
                    <a:pt x="14882" y="22996"/>
                  </a:lnTo>
                  <a:lnTo>
                    <a:pt x="14747" y="22693"/>
                  </a:lnTo>
                  <a:lnTo>
                    <a:pt x="14579" y="22390"/>
                  </a:lnTo>
                  <a:lnTo>
                    <a:pt x="14747" y="21986"/>
                  </a:lnTo>
                  <a:close/>
                  <a:moveTo>
                    <a:pt x="14545" y="22458"/>
                  </a:moveTo>
                  <a:lnTo>
                    <a:pt x="14680" y="23097"/>
                  </a:lnTo>
                  <a:lnTo>
                    <a:pt x="14815" y="23400"/>
                  </a:lnTo>
                  <a:lnTo>
                    <a:pt x="14882" y="23535"/>
                  </a:lnTo>
                  <a:lnTo>
                    <a:pt x="14983" y="23670"/>
                  </a:lnTo>
                  <a:lnTo>
                    <a:pt x="14815" y="24074"/>
                  </a:lnTo>
                  <a:lnTo>
                    <a:pt x="14680" y="23771"/>
                  </a:lnTo>
                  <a:lnTo>
                    <a:pt x="14478" y="23434"/>
                  </a:lnTo>
                  <a:lnTo>
                    <a:pt x="14377" y="23299"/>
                  </a:lnTo>
                  <a:lnTo>
                    <a:pt x="14276" y="23131"/>
                  </a:lnTo>
                  <a:lnTo>
                    <a:pt x="14545" y="22458"/>
                  </a:lnTo>
                  <a:close/>
                  <a:moveTo>
                    <a:pt x="14242" y="23198"/>
                  </a:moveTo>
                  <a:lnTo>
                    <a:pt x="14512" y="23905"/>
                  </a:lnTo>
                  <a:lnTo>
                    <a:pt x="14613" y="24141"/>
                  </a:lnTo>
                  <a:lnTo>
                    <a:pt x="14714" y="24343"/>
                  </a:lnTo>
                  <a:lnTo>
                    <a:pt x="14613" y="24713"/>
                  </a:lnTo>
                  <a:lnTo>
                    <a:pt x="14478" y="24444"/>
                  </a:lnTo>
                  <a:lnTo>
                    <a:pt x="14377" y="24175"/>
                  </a:lnTo>
                  <a:lnTo>
                    <a:pt x="14242" y="23905"/>
                  </a:lnTo>
                  <a:lnTo>
                    <a:pt x="14074" y="23670"/>
                  </a:lnTo>
                  <a:lnTo>
                    <a:pt x="14108" y="23569"/>
                  </a:lnTo>
                  <a:lnTo>
                    <a:pt x="14242" y="23198"/>
                  </a:lnTo>
                  <a:close/>
                  <a:moveTo>
                    <a:pt x="13973" y="23838"/>
                  </a:moveTo>
                  <a:lnTo>
                    <a:pt x="14007" y="23939"/>
                  </a:lnTo>
                  <a:lnTo>
                    <a:pt x="14242" y="24511"/>
                  </a:lnTo>
                  <a:lnTo>
                    <a:pt x="14343" y="24747"/>
                  </a:lnTo>
                  <a:lnTo>
                    <a:pt x="14411" y="24882"/>
                  </a:lnTo>
                  <a:lnTo>
                    <a:pt x="14478" y="25016"/>
                  </a:lnTo>
                  <a:lnTo>
                    <a:pt x="14343" y="25420"/>
                  </a:lnTo>
                  <a:lnTo>
                    <a:pt x="14276" y="25319"/>
                  </a:lnTo>
                  <a:lnTo>
                    <a:pt x="14209" y="25218"/>
                  </a:lnTo>
                  <a:lnTo>
                    <a:pt x="14141" y="25117"/>
                  </a:lnTo>
                  <a:lnTo>
                    <a:pt x="14040" y="24915"/>
                  </a:lnTo>
                  <a:lnTo>
                    <a:pt x="13939" y="24646"/>
                  </a:lnTo>
                  <a:lnTo>
                    <a:pt x="13838" y="24511"/>
                  </a:lnTo>
                  <a:lnTo>
                    <a:pt x="13737" y="24410"/>
                  </a:lnTo>
                  <a:lnTo>
                    <a:pt x="13973" y="23838"/>
                  </a:lnTo>
                  <a:close/>
                  <a:moveTo>
                    <a:pt x="13704" y="24511"/>
                  </a:moveTo>
                  <a:lnTo>
                    <a:pt x="13838" y="24848"/>
                  </a:lnTo>
                  <a:lnTo>
                    <a:pt x="13973" y="25185"/>
                  </a:lnTo>
                  <a:lnTo>
                    <a:pt x="14108" y="25387"/>
                  </a:lnTo>
                  <a:lnTo>
                    <a:pt x="14175" y="25521"/>
                  </a:lnTo>
                  <a:lnTo>
                    <a:pt x="14310" y="25555"/>
                  </a:lnTo>
                  <a:lnTo>
                    <a:pt x="14108" y="26127"/>
                  </a:lnTo>
                  <a:lnTo>
                    <a:pt x="14040" y="26026"/>
                  </a:lnTo>
                  <a:lnTo>
                    <a:pt x="13838" y="25521"/>
                  </a:lnTo>
                  <a:lnTo>
                    <a:pt x="13704" y="25218"/>
                  </a:lnTo>
                  <a:lnTo>
                    <a:pt x="13603" y="25084"/>
                  </a:lnTo>
                  <a:lnTo>
                    <a:pt x="13502" y="24983"/>
                  </a:lnTo>
                  <a:lnTo>
                    <a:pt x="13704" y="24511"/>
                  </a:lnTo>
                  <a:close/>
                  <a:moveTo>
                    <a:pt x="13468" y="25050"/>
                  </a:moveTo>
                  <a:lnTo>
                    <a:pt x="13569" y="25218"/>
                  </a:lnTo>
                  <a:lnTo>
                    <a:pt x="13636" y="25420"/>
                  </a:lnTo>
                  <a:lnTo>
                    <a:pt x="13737" y="25757"/>
                  </a:lnTo>
                  <a:lnTo>
                    <a:pt x="13838" y="26060"/>
                  </a:lnTo>
                  <a:lnTo>
                    <a:pt x="13906" y="26195"/>
                  </a:lnTo>
                  <a:lnTo>
                    <a:pt x="14007" y="26329"/>
                  </a:lnTo>
                  <a:lnTo>
                    <a:pt x="13838" y="26733"/>
                  </a:lnTo>
                  <a:lnTo>
                    <a:pt x="13670" y="26397"/>
                  </a:lnTo>
                  <a:lnTo>
                    <a:pt x="13569" y="26094"/>
                  </a:lnTo>
                  <a:lnTo>
                    <a:pt x="13468" y="25757"/>
                  </a:lnTo>
                  <a:lnTo>
                    <a:pt x="13333" y="25454"/>
                  </a:lnTo>
                  <a:lnTo>
                    <a:pt x="13300" y="25454"/>
                  </a:lnTo>
                  <a:lnTo>
                    <a:pt x="13468" y="25050"/>
                  </a:lnTo>
                  <a:close/>
                  <a:moveTo>
                    <a:pt x="13266" y="25521"/>
                  </a:moveTo>
                  <a:lnTo>
                    <a:pt x="13333" y="25892"/>
                  </a:lnTo>
                  <a:lnTo>
                    <a:pt x="13401" y="26262"/>
                  </a:lnTo>
                  <a:lnTo>
                    <a:pt x="13468" y="26430"/>
                  </a:lnTo>
                  <a:lnTo>
                    <a:pt x="13535" y="26599"/>
                  </a:lnTo>
                  <a:lnTo>
                    <a:pt x="13603" y="26767"/>
                  </a:lnTo>
                  <a:lnTo>
                    <a:pt x="13737" y="26902"/>
                  </a:lnTo>
                  <a:lnTo>
                    <a:pt x="13603" y="27238"/>
                  </a:lnTo>
                  <a:lnTo>
                    <a:pt x="13367" y="26834"/>
                  </a:lnTo>
                  <a:lnTo>
                    <a:pt x="13199" y="26498"/>
                  </a:lnTo>
                  <a:lnTo>
                    <a:pt x="12997" y="26195"/>
                  </a:lnTo>
                  <a:lnTo>
                    <a:pt x="13266" y="25521"/>
                  </a:lnTo>
                  <a:close/>
                  <a:moveTo>
                    <a:pt x="270" y="23400"/>
                  </a:moveTo>
                  <a:lnTo>
                    <a:pt x="405" y="23569"/>
                  </a:lnTo>
                  <a:lnTo>
                    <a:pt x="573" y="23703"/>
                  </a:lnTo>
                  <a:lnTo>
                    <a:pt x="741" y="23838"/>
                  </a:lnTo>
                  <a:lnTo>
                    <a:pt x="977" y="23939"/>
                  </a:lnTo>
                  <a:lnTo>
                    <a:pt x="1381" y="24141"/>
                  </a:lnTo>
                  <a:lnTo>
                    <a:pt x="1785" y="24276"/>
                  </a:lnTo>
                  <a:lnTo>
                    <a:pt x="3469" y="24949"/>
                  </a:lnTo>
                  <a:lnTo>
                    <a:pt x="4310" y="25286"/>
                  </a:lnTo>
                  <a:lnTo>
                    <a:pt x="5152" y="25589"/>
                  </a:lnTo>
                  <a:lnTo>
                    <a:pt x="6936" y="26262"/>
                  </a:lnTo>
                  <a:lnTo>
                    <a:pt x="8721" y="26969"/>
                  </a:lnTo>
                  <a:lnTo>
                    <a:pt x="9529" y="27339"/>
                  </a:lnTo>
                  <a:lnTo>
                    <a:pt x="9529" y="27339"/>
                  </a:lnTo>
                  <a:lnTo>
                    <a:pt x="7273" y="26531"/>
                  </a:lnTo>
                  <a:lnTo>
                    <a:pt x="5455" y="25892"/>
                  </a:lnTo>
                  <a:lnTo>
                    <a:pt x="4546" y="25555"/>
                  </a:lnTo>
                  <a:lnTo>
                    <a:pt x="3637" y="25218"/>
                  </a:lnTo>
                  <a:lnTo>
                    <a:pt x="3536" y="25185"/>
                  </a:lnTo>
                  <a:lnTo>
                    <a:pt x="2896" y="24915"/>
                  </a:lnTo>
                  <a:lnTo>
                    <a:pt x="2223" y="24612"/>
                  </a:lnTo>
                  <a:lnTo>
                    <a:pt x="1583" y="24276"/>
                  </a:lnTo>
                  <a:lnTo>
                    <a:pt x="910" y="23973"/>
                  </a:lnTo>
                  <a:lnTo>
                    <a:pt x="304" y="23602"/>
                  </a:lnTo>
                  <a:lnTo>
                    <a:pt x="236" y="23434"/>
                  </a:lnTo>
                  <a:lnTo>
                    <a:pt x="270" y="23400"/>
                  </a:lnTo>
                  <a:close/>
                  <a:moveTo>
                    <a:pt x="3940" y="14546"/>
                  </a:moveTo>
                  <a:lnTo>
                    <a:pt x="4041" y="14680"/>
                  </a:lnTo>
                  <a:lnTo>
                    <a:pt x="4512" y="14882"/>
                  </a:lnTo>
                  <a:lnTo>
                    <a:pt x="6431" y="15690"/>
                  </a:lnTo>
                  <a:lnTo>
                    <a:pt x="7879" y="16296"/>
                  </a:lnTo>
                  <a:lnTo>
                    <a:pt x="9360" y="16902"/>
                  </a:lnTo>
                  <a:lnTo>
                    <a:pt x="10135" y="17273"/>
                  </a:lnTo>
                  <a:lnTo>
                    <a:pt x="10909" y="17609"/>
                  </a:lnTo>
                  <a:lnTo>
                    <a:pt x="12458" y="18350"/>
                  </a:lnTo>
                  <a:lnTo>
                    <a:pt x="13199" y="18653"/>
                  </a:lnTo>
                  <a:lnTo>
                    <a:pt x="13939" y="18922"/>
                  </a:lnTo>
                  <a:lnTo>
                    <a:pt x="14680" y="19225"/>
                  </a:lnTo>
                  <a:lnTo>
                    <a:pt x="15050" y="19394"/>
                  </a:lnTo>
                  <a:lnTo>
                    <a:pt x="15387" y="19562"/>
                  </a:lnTo>
                  <a:lnTo>
                    <a:pt x="14781" y="21043"/>
                  </a:lnTo>
                  <a:lnTo>
                    <a:pt x="14478" y="21750"/>
                  </a:lnTo>
                  <a:lnTo>
                    <a:pt x="14175" y="22525"/>
                  </a:lnTo>
                  <a:lnTo>
                    <a:pt x="13603" y="24040"/>
                  </a:lnTo>
                  <a:lnTo>
                    <a:pt x="12963" y="25589"/>
                  </a:lnTo>
                  <a:lnTo>
                    <a:pt x="12727" y="26195"/>
                  </a:lnTo>
                  <a:lnTo>
                    <a:pt x="12492" y="26834"/>
                  </a:lnTo>
                  <a:lnTo>
                    <a:pt x="12357" y="27137"/>
                  </a:lnTo>
                  <a:lnTo>
                    <a:pt x="12189" y="27407"/>
                  </a:lnTo>
                  <a:lnTo>
                    <a:pt x="12020" y="27710"/>
                  </a:lnTo>
                  <a:lnTo>
                    <a:pt x="11818" y="27945"/>
                  </a:lnTo>
                  <a:lnTo>
                    <a:pt x="11212" y="27777"/>
                  </a:lnTo>
                  <a:lnTo>
                    <a:pt x="10640" y="27508"/>
                  </a:lnTo>
                  <a:lnTo>
                    <a:pt x="9495" y="27003"/>
                  </a:lnTo>
                  <a:lnTo>
                    <a:pt x="7845" y="26329"/>
                  </a:lnTo>
                  <a:lnTo>
                    <a:pt x="6196" y="25690"/>
                  </a:lnTo>
                  <a:lnTo>
                    <a:pt x="2829" y="24410"/>
                  </a:lnTo>
                  <a:lnTo>
                    <a:pt x="2189" y="24175"/>
                  </a:lnTo>
                  <a:lnTo>
                    <a:pt x="1550" y="23939"/>
                  </a:lnTo>
                  <a:lnTo>
                    <a:pt x="943" y="23636"/>
                  </a:lnTo>
                  <a:lnTo>
                    <a:pt x="640" y="23468"/>
                  </a:lnTo>
                  <a:lnTo>
                    <a:pt x="371" y="23266"/>
                  </a:lnTo>
                  <a:lnTo>
                    <a:pt x="371" y="23232"/>
                  </a:lnTo>
                  <a:lnTo>
                    <a:pt x="371" y="23198"/>
                  </a:lnTo>
                  <a:lnTo>
                    <a:pt x="405" y="23131"/>
                  </a:lnTo>
                  <a:lnTo>
                    <a:pt x="405" y="23064"/>
                  </a:lnTo>
                  <a:lnTo>
                    <a:pt x="472" y="22895"/>
                  </a:lnTo>
                  <a:lnTo>
                    <a:pt x="708" y="22155"/>
                  </a:lnTo>
                  <a:lnTo>
                    <a:pt x="1583" y="19932"/>
                  </a:lnTo>
                  <a:lnTo>
                    <a:pt x="2661" y="17239"/>
                  </a:lnTo>
                  <a:lnTo>
                    <a:pt x="3805" y="14579"/>
                  </a:lnTo>
                  <a:lnTo>
                    <a:pt x="3873" y="14579"/>
                  </a:lnTo>
                  <a:lnTo>
                    <a:pt x="3906" y="14546"/>
                  </a:lnTo>
                  <a:close/>
                  <a:moveTo>
                    <a:pt x="12963" y="26296"/>
                  </a:moveTo>
                  <a:lnTo>
                    <a:pt x="13199" y="26834"/>
                  </a:lnTo>
                  <a:lnTo>
                    <a:pt x="13333" y="27137"/>
                  </a:lnTo>
                  <a:lnTo>
                    <a:pt x="13502" y="27440"/>
                  </a:lnTo>
                  <a:lnTo>
                    <a:pt x="13266" y="27912"/>
                  </a:lnTo>
                  <a:lnTo>
                    <a:pt x="13232" y="27945"/>
                  </a:lnTo>
                  <a:lnTo>
                    <a:pt x="13165" y="27710"/>
                  </a:lnTo>
                  <a:lnTo>
                    <a:pt x="13098" y="27508"/>
                  </a:lnTo>
                  <a:lnTo>
                    <a:pt x="12963" y="27104"/>
                  </a:lnTo>
                  <a:lnTo>
                    <a:pt x="12795" y="26700"/>
                  </a:lnTo>
                  <a:lnTo>
                    <a:pt x="12929" y="26397"/>
                  </a:lnTo>
                  <a:lnTo>
                    <a:pt x="12963" y="26296"/>
                  </a:lnTo>
                  <a:close/>
                  <a:moveTo>
                    <a:pt x="12391" y="27609"/>
                  </a:moveTo>
                  <a:lnTo>
                    <a:pt x="12424" y="27777"/>
                  </a:lnTo>
                  <a:lnTo>
                    <a:pt x="12492" y="27912"/>
                  </a:lnTo>
                  <a:lnTo>
                    <a:pt x="12626" y="28248"/>
                  </a:lnTo>
                  <a:lnTo>
                    <a:pt x="12626" y="28248"/>
                  </a:lnTo>
                  <a:lnTo>
                    <a:pt x="12020" y="28080"/>
                  </a:lnTo>
                  <a:lnTo>
                    <a:pt x="12222" y="27844"/>
                  </a:lnTo>
                  <a:lnTo>
                    <a:pt x="12391" y="27609"/>
                  </a:lnTo>
                  <a:close/>
                  <a:moveTo>
                    <a:pt x="12727" y="26902"/>
                  </a:moveTo>
                  <a:lnTo>
                    <a:pt x="12862" y="27440"/>
                  </a:lnTo>
                  <a:lnTo>
                    <a:pt x="12963" y="27811"/>
                  </a:lnTo>
                  <a:lnTo>
                    <a:pt x="13030" y="28013"/>
                  </a:lnTo>
                  <a:lnTo>
                    <a:pt x="13131" y="28147"/>
                  </a:lnTo>
                  <a:lnTo>
                    <a:pt x="13030" y="28349"/>
                  </a:lnTo>
                  <a:lnTo>
                    <a:pt x="12997" y="28349"/>
                  </a:lnTo>
                  <a:lnTo>
                    <a:pt x="12997" y="28248"/>
                  </a:lnTo>
                  <a:lnTo>
                    <a:pt x="12963" y="28215"/>
                  </a:lnTo>
                  <a:lnTo>
                    <a:pt x="12929" y="28215"/>
                  </a:lnTo>
                  <a:lnTo>
                    <a:pt x="12896" y="28248"/>
                  </a:lnTo>
                  <a:lnTo>
                    <a:pt x="12660" y="27777"/>
                  </a:lnTo>
                  <a:lnTo>
                    <a:pt x="12593" y="27575"/>
                  </a:lnTo>
                  <a:lnTo>
                    <a:pt x="12525" y="27339"/>
                  </a:lnTo>
                  <a:lnTo>
                    <a:pt x="12727" y="26902"/>
                  </a:lnTo>
                  <a:close/>
                  <a:moveTo>
                    <a:pt x="19764" y="18788"/>
                  </a:moveTo>
                  <a:lnTo>
                    <a:pt x="19360" y="19697"/>
                  </a:lnTo>
                  <a:lnTo>
                    <a:pt x="19023" y="20606"/>
                  </a:lnTo>
                  <a:lnTo>
                    <a:pt x="18687" y="21548"/>
                  </a:lnTo>
                  <a:lnTo>
                    <a:pt x="18316" y="22491"/>
                  </a:lnTo>
                  <a:lnTo>
                    <a:pt x="17878" y="23468"/>
                  </a:lnTo>
                  <a:lnTo>
                    <a:pt x="17441" y="24410"/>
                  </a:lnTo>
                  <a:lnTo>
                    <a:pt x="16969" y="25387"/>
                  </a:lnTo>
                  <a:lnTo>
                    <a:pt x="16532" y="26329"/>
                  </a:lnTo>
                  <a:lnTo>
                    <a:pt x="16296" y="26834"/>
                  </a:lnTo>
                  <a:lnTo>
                    <a:pt x="16094" y="27373"/>
                  </a:lnTo>
                  <a:lnTo>
                    <a:pt x="15892" y="27878"/>
                  </a:lnTo>
                  <a:lnTo>
                    <a:pt x="15623" y="28383"/>
                  </a:lnTo>
                  <a:lnTo>
                    <a:pt x="15724" y="28147"/>
                  </a:lnTo>
                  <a:lnTo>
                    <a:pt x="16767" y="25723"/>
                  </a:lnTo>
                  <a:lnTo>
                    <a:pt x="17811" y="23333"/>
                  </a:lnTo>
                  <a:lnTo>
                    <a:pt x="18249" y="22188"/>
                  </a:lnTo>
                  <a:lnTo>
                    <a:pt x="18653" y="21043"/>
                  </a:lnTo>
                  <a:lnTo>
                    <a:pt x="18889" y="20437"/>
                  </a:lnTo>
                  <a:lnTo>
                    <a:pt x="19158" y="19899"/>
                  </a:lnTo>
                  <a:lnTo>
                    <a:pt x="19764" y="18788"/>
                  </a:lnTo>
                  <a:close/>
                  <a:moveTo>
                    <a:pt x="5489" y="26060"/>
                  </a:moveTo>
                  <a:lnTo>
                    <a:pt x="6532" y="26430"/>
                  </a:lnTo>
                  <a:lnTo>
                    <a:pt x="8451" y="27070"/>
                  </a:lnTo>
                  <a:lnTo>
                    <a:pt x="10371" y="27743"/>
                  </a:lnTo>
                  <a:lnTo>
                    <a:pt x="11145" y="28013"/>
                  </a:lnTo>
                  <a:lnTo>
                    <a:pt x="11650" y="28181"/>
                  </a:lnTo>
                  <a:lnTo>
                    <a:pt x="11616" y="28215"/>
                  </a:lnTo>
                  <a:lnTo>
                    <a:pt x="11549" y="28349"/>
                  </a:lnTo>
                  <a:lnTo>
                    <a:pt x="11515" y="28450"/>
                  </a:lnTo>
                  <a:lnTo>
                    <a:pt x="11111" y="28282"/>
                  </a:lnTo>
                  <a:lnTo>
                    <a:pt x="9327" y="27541"/>
                  </a:lnTo>
                  <a:lnTo>
                    <a:pt x="7509" y="26868"/>
                  </a:lnTo>
                  <a:lnTo>
                    <a:pt x="6499" y="26464"/>
                  </a:lnTo>
                  <a:lnTo>
                    <a:pt x="5489" y="26060"/>
                  </a:lnTo>
                  <a:close/>
                  <a:moveTo>
                    <a:pt x="12323" y="28316"/>
                  </a:moveTo>
                  <a:lnTo>
                    <a:pt x="12761" y="28450"/>
                  </a:lnTo>
                  <a:lnTo>
                    <a:pt x="12525" y="28417"/>
                  </a:lnTo>
                  <a:lnTo>
                    <a:pt x="12323" y="28316"/>
                  </a:lnTo>
                  <a:close/>
                  <a:moveTo>
                    <a:pt x="371" y="23905"/>
                  </a:moveTo>
                  <a:lnTo>
                    <a:pt x="741" y="24141"/>
                  </a:lnTo>
                  <a:lnTo>
                    <a:pt x="1145" y="24377"/>
                  </a:lnTo>
                  <a:lnTo>
                    <a:pt x="1550" y="24579"/>
                  </a:lnTo>
                  <a:lnTo>
                    <a:pt x="1987" y="24747"/>
                  </a:lnTo>
                  <a:lnTo>
                    <a:pt x="2829" y="25084"/>
                  </a:lnTo>
                  <a:lnTo>
                    <a:pt x="3704" y="25420"/>
                  </a:lnTo>
                  <a:lnTo>
                    <a:pt x="5691" y="26296"/>
                  </a:lnTo>
                  <a:lnTo>
                    <a:pt x="6701" y="26733"/>
                  </a:lnTo>
                  <a:lnTo>
                    <a:pt x="7711" y="27137"/>
                  </a:lnTo>
                  <a:lnTo>
                    <a:pt x="9630" y="27878"/>
                  </a:lnTo>
                  <a:lnTo>
                    <a:pt x="11515" y="28652"/>
                  </a:lnTo>
                  <a:lnTo>
                    <a:pt x="11515" y="28753"/>
                  </a:lnTo>
                  <a:lnTo>
                    <a:pt x="11381" y="28720"/>
                  </a:lnTo>
                  <a:lnTo>
                    <a:pt x="10640" y="28383"/>
                  </a:lnTo>
                  <a:lnTo>
                    <a:pt x="9866" y="28080"/>
                  </a:lnTo>
                  <a:lnTo>
                    <a:pt x="8317" y="27474"/>
                  </a:lnTo>
                  <a:lnTo>
                    <a:pt x="7340" y="27070"/>
                  </a:lnTo>
                  <a:lnTo>
                    <a:pt x="6364" y="26666"/>
                  </a:lnTo>
                  <a:lnTo>
                    <a:pt x="4411" y="25791"/>
                  </a:lnTo>
                  <a:lnTo>
                    <a:pt x="2459" y="24949"/>
                  </a:lnTo>
                  <a:lnTo>
                    <a:pt x="1482" y="24579"/>
                  </a:lnTo>
                  <a:lnTo>
                    <a:pt x="506" y="24208"/>
                  </a:lnTo>
                  <a:lnTo>
                    <a:pt x="506" y="24175"/>
                  </a:lnTo>
                  <a:lnTo>
                    <a:pt x="472" y="24141"/>
                  </a:lnTo>
                  <a:lnTo>
                    <a:pt x="371" y="23905"/>
                  </a:lnTo>
                  <a:close/>
                  <a:moveTo>
                    <a:pt x="11852" y="28349"/>
                  </a:moveTo>
                  <a:lnTo>
                    <a:pt x="11919" y="28417"/>
                  </a:lnTo>
                  <a:lnTo>
                    <a:pt x="12020" y="28484"/>
                  </a:lnTo>
                  <a:lnTo>
                    <a:pt x="12256" y="28585"/>
                  </a:lnTo>
                  <a:lnTo>
                    <a:pt x="12525" y="28686"/>
                  </a:lnTo>
                  <a:lnTo>
                    <a:pt x="12795" y="28753"/>
                  </a:lnTo>
                  <a:lnTo>
                    <a:pt x="12727" y="28888"/>
                  </a:lnTo>
                  <a:lnTo>
                    <a:pt x="12256" y="28753"/>
                  </a:lnTo>
                  <a:lnTo>
                    <a:pt x="11785" y="28551"/>
                  </a:lnTo>
                  <a:lnTo>
                    <a:pt x="11785" y="28349"/>
                  </a:lnTo>
                  <a:close/>
                  <a:moveTo>
                    <a:pt x="13064" y="28753"/>
                  </a:moveTo>
                  <a:lnTo>
                    <a:pt x="13098" y="28821"/>
                  </a:lnTo>
                  <a:lnTo>
                    <a:pt x="13165" y="28854"/>
                  </a:lnTo>
                  <a:lnTo>
                    <a:pt x="13401" y="28888"/>
                  </a:lnTo>
                  <a:lnTo>
                    <a:pt x="13636" y="28922"/>
                  </a:lnTo>
                  <a:lnTo>
                    <a:pt x="14074" y="29023"/>
                  </a:lnTo>
                  <a:lnTo>
                    <a:pt x="13805" y="29056"/>
                  </a:lnTo>
                  <a:lnTo>
                    <a:pt x="13502" y="29023"/>
                  </a:lnTo>
                  <a:lnTo>
                    <a:pt x="13232" y="28989"/>
                  </a:lnTo>
                  <a:lnTo>
                    <a:pt x="12929" y="28955"/>
                  </a:lnTo>
                  <a:lnTo>
                    <a:pt x="12963" y="28753"/>
                  </a:lnTo>
                  <a:close/>
                  <a:moveTo>
                    <a:pt x="11751" y="28753"/>
                  </a:moveTo>
                  <a:lnTo>
                    <a:pt x="11852" y="28787"/>
                  </a:lnTo>
                  <a:lnTo>
                    <a:pt x="12290" y="28955"/>
                  </a:lnTo>
                  <a:lnTo>
                    <a:pt x="12727" y="29090"/>
                  </a:lnTo>
                  <a:lnTo>
                    <a:pt x="12761" y="29292"/>
                  </a:lnTo>
                  <a:lnTo>
                    <a:pt x="12256" y="29090"/>
                  </a:lnTo>
                  <a:lnTo>
                    <a:pt x="11751" y="28888"/>
                  </a:lnTo>
                  <a:lnTo>
                    <a:pt x="11751" y="28753"/>
                  </a:lnTo>
                  <a:close/>
                  <a:moveTo>
                    <a:pt x="15084" y="28989"/>
                  </a:moveTo>
                  <a:lnTo>
                    <a:pt x="14916" y="29124"/>
                  </a:lnTo>
                  <a:lnTo>
                    <a:pt x="14714" y="29258"/>
                  </a:lnTo>
                  <a:lnTo>
                    <a:pt x="14512" y="29359"/>
                  </a:lnTo>
                  <a:lnTo>
                    <a:pt x="14310" y="29427"/>
                  </a:lnTo>
                  <a:lnTo>
                    <a:pt x="14074" y="29460"/>
                  </a:lnTo>
                  <a:lnTo>
                    <a:pt x="13872" y="29460"/>
                  </a:lnTo>
                  <a:lnTo>
                    <a:pt x="13401" y="29427"/>
                  </a:lnTo>
                  <a:lnTo>
                    <a:pt x="12963" y="29326"/>
                  </a:lnTo>
                  <a:lnTo>
                    <a:pt x="12997" y="29292"/>
                  </a:lnTo>
                  <a:lnTo>
                    <a:pt x="12963" y="29225"/>
                  </a:lnTo>
                  <a:lnTo>
                    <a:pt x="12963" y="29157"/>
                  </a:lnTo>
                  <a:lnTo>
                    <a:pt x="13502" y="29225"/>
                  </a:lnTo>
                  <a:lnTo>
                    <a:pt x="14276" y="29225"/>
                  </a:lnTo>
                  <a:lnTo>
                    <a:pt x="14545" y="29157"/>
                  </a:lnTo>
                  <a:lnTo>
                    <a:pt x="14815" y="29090"/>
                  </a:lnTo>
                  <a:lnTo>
                    <a:pt x="15084" y="28989"/>
                  </a:lnTo>
                  <a:close/>
                  <a:moveTo>
                    <a:pt x="9765" y="1"/>
                  </a:moveTo>
                  <a:lnTo>
                    <a:pt x="9731" y="35"/>
                  </a:lnTo>
                  <a:lnTo>
                    <a:pt x="9529" y="775"/>
                  </a:lnTo>
                  <a:lnTo>
                    <a:pt x="9327" y="1482"/>
                  </a:lnTo>
                  <a:lnTo>
                    <a:pt x="9057" y="2189"/>
                  </a:lnTo>
                  <a:lnTo>
                    <a:pt x="8788" y="2863"/>
                  </a:lnTo>
                  <a:lnTo>
                    <a:pt x="8216" y="4243"/>
                  </a:lnTo>
                  <a:lnTo>
                    <a:pt x="7576" y="5590"/>
                  </a:lnTo>
                  <a:lnTo>
                    <a:pt x="6398" y="8250"/>
                  </a:lnTo>
                  <a:lnTo>
                    <a:pt x="5825" y="9563"/>
                  </a:lnTo>
                  <a:lnTo>
                    <a:pt x="5186" y="10876"/>
                  </a:lnTo>
                  <a:lnTo>
                    <a:pt x="4714" y="11818"/>
                  </a:lnTo>
                  <a:lnTo>
                    <a:pt x="4277" y="12795"/>
                  </a:lnTo>
                  <a:lnTo>
                    <a:pt x="3469" y="14781"/>
                  </a:lnTo>
                  <a:lnTo>
                    <a:pt x="2257" y="17576"/>
                  </a:lnTo>
                  <a:lnTo>
                    <a:pt x="1078" y="20437"/>
                  </a:lnTo>
                  <a:lnTo>
                    <a:pt x="674" y="21481"/>
                  </a:lnTo>
                  <a:lnTo>
                    <a:pt x="270" y="22525"/>
                  </a:lnTo>
                  <a:lnTo>
                    <a:pt x="169" y="22828"/>
                  </a:lnTo>
                  <a:lnTo>
                    <a:pt x="102" y="23030"/>
                  </a:lnTo>
                  <a:lnTo>
                    <a:pt x="68" y="23198"/>
                  </a:lnTo>
                  <a:lnTo>
                    <a:pt x="34" y="23232"/>
                  </a:lnTo>
                  <a:lnTo>
                    <a:pt x="1" y="23299"/>
                  </a:lnTo>
                  <a:lnTo>
                    <a:pt x="102" y="23535"/>
                  </a:lnTo>
                  <a:lnTo>
                    <a:pt x="135" y="23771"/>
                  </a:lnTo>
                  <a:lnTo>
                    <a:pt x="203" y="24006"/>
                  </a:lnTo>
                  <a:lnTo>
                    <a:pt x="304" y="24242"/>
                  </a:lnTo>
                  <a:lnTo>
                    <a:pt x="337" y="24276"/>
                  </a:lnTo>
                  <a:lnTo>
                    <a:pt x="405" y="24276"/>
                  </a:lnTo>
                  <a:lnTo>
                    <a:pt x="2459" y="25252"/>
                  </a:lnTo>
                  <a:lnTo>
                    <a:pt x="4512" y="26161"/>
                  </a:lnTo>
                  <a:lnTo>
                    <a:pt x="6633" y="27036"/>
                  </a:lnTo>
                  <a:lnTo>
                    <a:pt x="8721" y="27878"/>
                  </a:lnTo>
                  <a:lnTo>
                    <a:pt x="10135" y="28450"/>
                  </a:lnTo>
                  <a:lnTo>
                    <a:pt x="11549" y="29056"/>
                  </a:lnTo>
                  <a:lnTo>
                    <a:pt x="11583" y="29090"/>
                  </a:lnTo>
                  <a:lnTo>
                    <a:pt x="11650" y="29090"/>
                  </a:lnTo>
                  <a:lnTo>
                    <a:pt x="12020" y="29258"/>
                  </a:lnTo>
                  <a:lnTo>
                    <a:pt x="12694" y="29494"/>
                  </a:lnTo>
                  <a:lnTo>
                    <a:pt x="13064" y="29595"/>
                  </a:lnTo>
                  <a:lnTo>
                    <a:pt x="13401" y="29662"/>
                  </a:lnTo>
                  <a:lnTo>
                    <a:pt x="14141" y="29662"/>
                  </a:lnTo>
                  <a:lnTo>
                    <a:pt x="14478" y="29595"/>
                  </a:lnTo>
                  <a:lnTo>
                    <a:pt x="14848" y="29460"/>
                  </a:lnTo>
                  <a:lnTo>
                    <a:pt x="15151" y="29292"/>
                  </a:lnTo>
                  <a:lnTo>
                    <a:pt x="15421" y="29090"/>
                  </a:lnTo>
                  <a:lnTo>
                    <a:pt x="15656" y="28821"/>
                  </a:lnTo>
                  <a:lnTo>
                    <a:pt x="15825" y="28518"/>
                  </a:lnTo>
                  <a:lnTo>
                    <a:pt x="15993" y="28181"/>
                  </a:lnTo>
                  <a:lnTo>
                    <a:pt x="16161" y="27844"/>
                  </a:lnTo>
                  <a:lnTo>
                    <a:pt x="16431" y="27205"/>
                  </a:lnTo>
                  <a:lnTo>
                    <a:pt x="16868" y="26127"/>
                  </a:lnTo>
                  <a:lnTo>
                    <a:pt x="17373" y="25117"/>
                  </a:lnTo>
                  <a:lnTo>
                    <a:pt x="17878" y="24074"/>
                  </a:lnTo>
                  <a:lnTo>
                    <a:pt x="18350" y="23030"/>
                  </a:lnTo>
                  <a:lnTo>
                    <a:pt x="18788" y="21952"/>
                  </a:lnTo>
                  <a:lnTo>
                    <a:pt x="19192" y="20841"/>
                  </a:lnTo>
                  <a:lnTo>
                    <a:pt x="19596" y="19730"/>
                  </a:lnTo>
                  <a:lnTo>
                    <a:pt x="20067" y="18653"/>
                  </a:lnTo>
                  <a:lnTo>
                    <a:pt x="20437" y="17946"/>
                  </a:lnTo>
                  <a:lnTo>
                    <a:pt x="20841" y="17273"/>
                  </a:lnTo>
                  <a:lnTo>
                    <a:pt x="20841" y="16902"/>
                  </a:lnTo>
                  <a:lnTo>
                    <a:pt x="20505" y="17407"/>
                  </a:lnTo>
                  <a:lnTo>
                    <a:pt x="20202" y="17879"/>
                  </a:lnTo>
                  <a:lnTo>
                    <a:pt x="20505" y="17172"/>
                  </a:lnTo>
                  <a:lnTo>
                    <a:pt x="20673" y="16835"/>
                  </a:lnTo>
                  <a:lnTo>
                    <a:pt x="20841" y="16498"/>
                  </a:lnTo>
                  <a:lnTo>
                    <a:pt x="20841" y="15960"/>
                  </a:lnTo>
                  <a:lnTo>
                    <a:pt x="20639" y="16296"/>
                  </a:lnTo>
                  <a:lnTo>
                    <a:pt x="20370" y="16768"/>
                  </a:lnTo>
                  <a:lnTo>
                    <a:pt x="20168" y="17273"/>
                  </a:lnTo>
                  <a:lnTo>
                    <a:pt x="19966" y="17744"/>
                  </a:lnTo>
                  <a:lnTo>
                    <a:pt x="19730" y="18249"/>
                  </a:lnTo>
                  <a:lnTo>
                    <a:pt x="19192" y="19259"/>
                  </a:lnTo>
                  <a:lnTo>
                    <a:pt x="18922" y="19764"/>
                  </a:lnTo>
                  <a:lnTo>
                    <a:pt x="18653" y="20303"/>
                  </a:lnTo>
                  <a:lnTo>
                    <a:pt x="18451" y="20841"/>
                  </a:lnTo>
                  <a:lnTo>
                    <a:pt x="18249" y="21414"/>
                  </a:lnTo>
                  <a:lnTo>
                    <a:pt x="18047" y="21986"/>
                  </a:lnTo>
                  <a:lnTo>
                    <a:pt x="17845" y="22559"/>
                  </a:lnTo>
                  <a:lnTo>
                    <a:pt x="17373" y="23670"/>
                  </a:lnTo>
                  <a:lnTo>
                    <a:pt x="16868" y="24781"/>
                  </a:lnTo>
                  <a:lnTo>
                    <a:pt x="16363" y="25892"/>
                  </a:lnTo>
                  <a:lnTo>
                    <a:pt x="15858" y="27003"/>
                  </a:lnTo>
                  <a:lnTo>
                    <a:pt x="15555" y="27844"/>
                  </a:lnTo>
                  <a:lnTo>
                    <a:pt x="15353" y="28248"/>
                  </a:lnTo>
                  <a:lnTo>
                    <a:pt x="15252" y="28417"/>
                  </a:lnTo>
                  <a:lnTo>
                    <a:pt x="15084" y="28585"/>
                  </a:lnTo>
                  <a:lnTo>
                    <a:pt x="14983" y="28686"/>
                  </a:lnTo>
                  <a:lnTo>
                    <a:pt x="14848" y="28753"/>
                  </a:lnTo>
                  <a:lnTo>
                    <a:pt x="14747" y="28787"/>
                  </a:lnTo>
                  <a:lnTo>
                    <a:pt x="14613" y="28821"/>
                  </a:lnTo>
                  <a:lnTo>
                    <a:pt x="14343" y="28821"/>
                  </a:lnTo>
                  <a:lnTo>
                    <a:pt x="14040" y="28753"/>
                  </a:lnTo>
                  <a:lnTo>
                    <a:pt x="13636" y="28585"/>
                  </a:lnTo>
                  <a:lnTo>
                    <a:pt x="13232" y="28417"/>
                  </a:lnTo>
                  <a:lnTo>
                    <a:pt x="13670" y="27575"/>
                  </a:lnTo>
                  <a:lnTo>
                    <a:pt x="13704" y="27541"/>
                  </a:lnTo>
                  <a:lnTo>
                    <a:pt x="13906" y="27137"/>
                  </a:lnTo>
                  <a:lnTo>
                    <a:pt x="14141" y="26666"/>
                  </a:lnTo>
                  <a:lnTo>
                    <a:pt x="14343" y="26161"/>
                  </a:lnTo>
                  <a:lnTo>
                    <a:pt x="14680" y="25117"/>
                  </a:lnTo>
                  <a:lnTo>
                    <a:pt x="14747" y="25117"/>
                  </a:lnTo>
                  <a:lnTo>
                    <a:pt x="14781" y="25050"/>
                  </a:lnTo>
                  <a:lnTo>
                    <a:pt x="14781" y="25016"/>
                  </a:lnTo>
                  <a:lnTo>
                    <a:pt x="14781" y="24983"/>
                  </a:lnTo>
                  <a:lnTo>
                    <a:pt x="14747" y="24949"/>
                  </a:lnTo>
                  <a:lnTo>
                    <a:pt x="14848" y="24646"/>
                  </a:lnTo>
                  <a:lnTo>
                    <a:pt x="14882" y="24545"/>
                  </a:lnTo>
                  <a:lnTo>
                    <a:pt x="14916" y="24545"/>
                  </a:lnTo>
                  <a:lnTo>
                    <a:pt x="14983" y="24579"/>
                  </a:lnTo>
                  <a:lnTo>
                    <a:pt x="15017" y="24545"/>
                  </a:lnTo>
                  <a:lnTo>
                    <a:pt x="15050" y="24511"/>
                  </a:lnTo>
                  <a:lnTo>
                    <a:pt x="15050" y="24478"/>
                  </a:lnTo>
                  <a:lnTo>
                    <a:pt x="14949" y="24309"/>
                  </a:lnTo>
                  <a:lnTo>
                    <a:pt x="15151" y="23771"/>
                  </a:lnTo>
                  <a:lnTo>
                    <a:pt x="15219" y="23737"/>
                  </a:lnTo>
                  <a:lnTo>
                    <a:pt x="15252" y="23703"/>
                  </a:lnTo>
                  <a:lnTo>
                    <a:pt x="15252" y="23636"/>
                  </a:lnTo>
                  <a:lnTo>
                    <a:pt x="15219" y="23602"/>
                  </a:lnTo>
                  <a:lnTo>
                    <a:pt x="15353" y="23232"/>
                  </a:lnTo>
                  <a:lnTo>
                    <a:pt x="15421" y="23232"/>
                  </a:lnTo>
                  <a:lnTo>
                    <a:pt x="15488" y="23198"/>
                  </a:lnTo>
                  <a:lnTo>
                    <a:pt x="15488" y="23165"/>
                  </a:lnTo>
                  <a:lnTo>
                    <a:pt x="15488" y="23097"/>
                  </a:lnTo>
                  <a:lnTo>
                    <a:pt x="15454" y="22996"/>
                  </a:lnTo>
                  <a:lnTo>
                    <a:pt x="15858" y="21952"/>
                  </a:lnTo>
                  <a:lnTo>
                    <a:pt x="15892" y="21986"/>
                  </a:lnTo>
                  <a:lnTo>
                    <a:pt x="15993" y="21986"/>
                  </a:lnTo>
                  <a:lnTo>
                    <a:pt x="16027" y="21952"/>
                  </a:lnTo>
                  <a:lnTo>
                    <a:pt x="16027" y="21919"/>
                  </a:lnTo>
                  <a:lnTo>
                    <a:pt x="15959" y="21717"/>
                  </a:lnTo>
                  <a:lnTo>
                    <a:pt x="16161" y="21313"/>
                  </a:lnTo>
                  <a:lnTo>
                    <a:pt x="16195" y="21245"/>
                  </a:lnTo>
                  <a:lnTo>
                    <a:pt x="16397" y="20808"/>
                  </a:lnTo>
                  <a:lnTo>
                    <a:pt x="16431" y="20808"/>
                  </a:lnTo>
                  <a:lnTo>
                    <a:pt x="16498" y="20774"/>
                  </a:lnTo>
                  <a:lnTo>
                    <a:pt x="16532" y="20774"/>
                  </a:lnTo>
                  <a:lnTo>
                    <a:pt x="16532" y="20707"/>
                  </a:lnTo>
                  <a:lnTo>
                    <a:pt x="16498" y="20572"/>
                  </a:lnTo>
                  <a:lnTo>
                    <a:pt x="16666" y="20202"/>
                  </a:lnTo>
                  <a:lnTo>
                    <a:pt x="16700" y="20202"/>
                  </a:lnTo>
                  <a:lnTo>
                    <a:pt x="16734" y="20168"/>
                  </a:lnTo>
                  <a:lnTo>
                    <a:pt x="16868" y="20235"/>
                  </a:lnTo>
                  <a:lnTo>
                    <a:pt x="17037" y="20269"/>
                  </a:lnTo>
                  <a:lnTo>
                    <a:pt x="17306" y="20370"/>
                  </a:lnTo>
                  <a:lnTo>
                    <a:pt x="17575" y="20471"/>
                  </a:lnTo>
                  <a:lnTo>
                    <a:pt x="17946" y="20673"/>
                  </a:lnTo>
                  <a:lnTo>
                    <a:pt x="18114" y="20774"/>
                  </a:lnTo>
                  <a:lnTo>
                    <a:pt x="18316" y="20808"/>
                  </a:lnTo>
                  <a:lnTo>
                    <a:pt x="18350" y="20808"/>
                  </a:lnTo>
                  <a:lnTo>
                    <a:pt x="18384" y="20774"/>
                  </a:lnTo>
                  <a:lnTo>
                    <a:pt x="18417" y="20707"/>
                  </a:lnTo>
                  <a:lnTo>
                    <a:pt x="18417" y="20673"/>
                  </a:lnTo>
                  <a:lnTo>
                    <a:pt x="18384" y="20572"/>
                  </a:lnTo>
                  <a:lnTo>
                    <a:pt x="18283" y="20505"/>
                  </a:lnTo>
                  <a:lnTo>
                    <a:pt x="18081" y="20370"/>
                  </a:lnTo>
                  <a:lnTo>
                    <a:pt x="17676" y="20202"/>
                  </a:lnTo>
                  <a:lnTo>
                    <a:pt x="17239" y="20033"/>
                  </a:lnTo>
                  <a:lnTo>
                    <a:pt x="16969" y="19966"/>
                  </a:lnTo>
                  <a:lnTo>
                    <a:pt x="16868" y="19966"/>
                  </a:lnTo>
                  <a:lnTo>
                    <a:pt x="16767" y="20000"/>
                  </a:lnTo>
                  <a:lnTo>
                    <a:pt x="16969" y="19562"/>
                  </a:lnTo>
                  <a:lnTo>
                    <a:pt x="17070" y="19562"/>
                  </a:lnTo>
                  <a:lnTo>
                    <a:pt x="17104" y="19495"/>
                  </a:lnTo>
                  <a:lnTo>
                    <a:pt x="17138" y="19461"/>
                  </a:lnTo>
                  <a:lnTo>
                    <a:pt x="17104" y="19394"/>
                  </a:lnTo>
                  <a:lnTo>
                    <a:pt x="17070" y="19360"/>
                  </a:lnTo>
                  <a:lnTo>
                    <a:pt x="17306" y="18855"/>
                  </a:lnTo>
                  <a:lnTo>
                    <a:pt x="17441" y="18552"/>
                  </a:lnTo>
                  <a:lnTo>
                    <a:pt x="17474" y="18518"/>
                  </a:lnTo>
                  <a:lnTo>
                    <a:pt x="17508" y="18451"/>
                  </a:lnTo>
                  <a:lnTo>
                    <a:pt x="17980" y="17441"/>
                  </a:lnTo>
                  <a:lnTo>
                    <a:pt x="18047" y="17441"/>
                  </a:lnTo>
                  <a:lnTo>
                    <a:pt x="18081" y="17374"/>
                  </a:lnTo>
                  <a:lnTo>
                    <a:pt x="18047" y="17273"/>
                  </a:lnTo>
                  <a:lnTo>
                    <a:pt x="18384" y="16566"/>
                  </a:lnTo>
                  <a:lnTo>
                    <a:pt x="18417" y="16532"/>
                  </a:lnTo>
                  <a:lnTo>
                    <a:pt x="18417" y="16498"/>
                  </a:lnTo>
                  <a:lnTo>
                    <a:pt x="19528" y="14108"/>
                  </a:lnTo>
                  <a:lnTo>
                    <a:pt x="19697" y="14243"/>
                  </a:lnTo>
                  <a:lnTo>
                    <a:pt x="19865" y="14310"/>
                  </a:lnTo>
                  <a:lnTo>
                    <a:pt x="20235" y="14445"/>
                  </a:lnTo>
                  <a:lnTo>
                    <a:pt x="20841" y="14714"/>
                  </a:lnTo>
                  <a:lnTo>
                    <a:pt x="20841" y="14445"/>
                  </a:lnTo>
                  <a:lnTo>
                    <a:pt x="20639" y="14377"/>
                  </a:lnTo>
                  <a:lnTo>
                    <a:pt x="20101" y="14142"/>
                  </a:lnTo>
                  <a:lnTo>
                    <a:pt x="19831" y="14074"/>
                  </a:lnTo>
                  <a:lnTo>
                    <a:pt x="19562" y="14041"/>
                  </a:lnTo>
                  <a:lnTo>
                    <a:pt x="19629" y="13872"/>
                  </a:lnTo>
                  <a:lnTo>
                    <a:pt x="19865" y="13266"/>
                  </a:lnTo>
                  <a:lnTo>
                    <a:pt x="20067" y="12660"/>
                  </a:lnTo>
                  <a:lnTo>
                    <a:pt x="20269" y="12088"/>
                  </a:lnTo>
                  <a:lnTo>
                    <a:pt x="20505" y="11482"/>
                  </a:lnTo>
                  <a:lnTo>
                    <a:pt x="20673" y="11145"/>
                  </a:lnTo>
                  <a:lnTo>
                    <a:pt x="20841" y="10842"/>
                  </a:lnTo>
                  <a:lnTo>
                    <a:pt x="20841" y="10371"/>
                  </a:lnTo>
                  <a:lnTo>
                    <a:pt x="20774" y="10472"/>
                  </a:lnTo>
                  <a:lnTo>
                    <a:pt x="20404" y="9798"/>
                  </a:lnTo>
                  <a:lnTo>
                    <a:pt x="20269" y="9462"/>
                  </a:lnTo>
                  <a:lnTo>
                    <a:pt x="20134" y="9091"/>
                  </a:lnTo>
                  <a:lnTo>
                    <a:pt x="20134" y="9058"/>
                  </a:lnTo>
                  <a:lnTo>
                    <a:pt x="20101" y="9091"/>
                  </a:lnTo>
                  <a:lnTo>
                    <a:pt x="20101" y="9293"/>
                  </a:lnTo>
                  <a:lnTo>
                    <a:pt x="20134" y="9529"/>
                  </a:lnTo>
                  <a:lnTo>
                    <a:pt x="20269" y="9933"/>
                  </a:lnTo>
                  <a:lnTo>
                    <a:pt x="20437" y="10337"/>
                  </a:lnTo>
                  <a:lnTo>
                    <a:pt x="20639" y="10707"/>
                  </a:lnTo>
                  <a:lnTo>
                    <a:pt x="20471" y="11044"/>
                  </a:lnTo>
                  <a:lnTo>
                    <a:pt x="20336" y="10876"/>
                  </a:lnTo>
                  <a:lnTo>
                    <a:pt x="20269" y="10707"/>
                  </a:lnTo>
                  <a:lnTo>
                    <a:pt x="20101" y="10371"/>
                  </a:lnTo>
                  <a:lnTo>
                    <a:pt x="20000" y="10202"/>
                  </a:lnTo>
                  <a:lnTo>
                    <a:pt x="19865" y="10068"/>
                  </a:lnTo>
                  <a:lnTo>
                    <a:pt x="19831" y="10068"/>
                  </a:lnTo>
                  <a:lnTo>
                    <a:pt x="19831" y="10101"/>
                  </a:lnTo>
                  <a:lnTo>
                    <a:pt x="19932" y="10303"/>
                  </a:lnTo>
                  <a:lnTo>
                    <a:pt x="20000" y="10505"/>
                  </a:lnTo>
                  <a:lnTo>
                    <a:pt x="20067" y="10707"/>
                  </a:lnTo>
                  <a:lnTo>
                    <a:pt x="20134" y="10909"/>
                  </a:lnTo>
                  <a:lnTo>
                    <a:pt x="20235" y="11078"/>
                  </a:lnTo>
                  <a:lnTo>
                    <a:pt x="20370" y="11246"/>
                  </a:lnTo>
                  <a:lnTo>
                    <a:pt x="20202" y="11583"/>
                  </a:lnTo>
                  <a:lnTo>
                    <a:pt x="20134" y="11549"/>
                  </a:lnTo>
                  <a:lnTo>
                    <a:pt x="19899" y="11280"/>
                  </a:lnTo>
                  <a:lnTo>
                    <a:pt x="19764" y="11111"/>
                  </a:lnTo>
                  <a:lnTo>
                    <a:pt x="19663" y="10909"/>
                  </a:lnTo>
                  <a:lnTo>
                    <a:pt x="19495" y="10539"/>
                  </a:lnTo>
                  <a:lnTo>
                    <a:pt x="19461" y="10505"/>
                  </a:lnTo>
                  <a:lnTo>
                    <a:pt x="20168" y="8923"/>
                  </a:lnTo>
                  <a:lnTo>
                    <a:pt x="20841" y="7341"/>
                  </a:lnTo>
                  <a:lnTo>
                    <a:pt x="20841" y="6667"/>
                  </a:lnTo>
                  <a:lnTo>
                    <a:pt x="20336" y="7846"/>
                  </a:lnTo>
                  <a:lnTo>
                    <a:pt x="19831" y="9024"/>
                  </a:lnTo>
                  <a:lnTo>
                    <a:pt x="19326" y="10202"/>
                  </a:lnTo>
                  <a:lnTo>
                    <a:pt x="18788" y="11347"/>
                  </a:lnTo>
                  <a:lnTo>
                    <a:pt x="18350" y="12290"/>
                  </a:lnTo>
                  <a:lnTo>
                    <a:pt x="17912" y="13232"/>
                  </a:lnTo>
                  <a:lnTo>
                    <a:pt x="17508" y="13131"/>
                  </a:lnTo>
                  <a:lnTo>
                    <a:pt x="17171" y="12997"/>
                  </a:lnTo>
                  <a:lnTo>
                    <a:pt x="16801" y="12862"/>
                  </a:lnTo>
                  <a:lnTo>
                    <a:pt x="16464" y="12694"/>
                  </a:lnTo>
                  <a:lnTo>
                    <a:pt x="15118" y="11953"/>
                  </a:lnTo>
                  <a:lnTo>
                    <a:pt x="14343" y="11616"/>
                  </a:lnTo>
                  <a:lnTo>
                    <a:pt x="13569" y="11313"/>
                  </a:lnTo>
                  <a:lnTo>
                    <a:pt x="12795" y="11010"/>
                  </a:lnTo>
                  <a:lnTo>
                    <a:pt x="12020" y="10707"/>
                  </a:lnTo>
                  <a:lnTo>
                    <a:pt x="10640" y="10101"/>
                  </a:lnTo>
                  <a:lnTo>
                    <a:pt x="9226" y="9495"/>
                  </a:lnTo>
                  <a:lnTo>
                    <a:pt x="8317" y="9159"/>
                  </a:lnTo>
                  <a:lnTo>
                    <a:pt x="7879" y="8990"/>
                  </a:lnTo>
                  <a:lnTo>
                    <a:pt x="7441" y="8788"/>
                  </a:lnTo>
                  <a:lnTo>
                    <a:pt x="7004" y="8620"/>
                  </a:lnTo>
                  <a:lnTo>
                    <a:pt x="6802" y="8553"/>
                  </a:lnTo>
                  <a:lnTo>
                    <a:pt x="6566" y="8485"/>
                  </a:lnTo>
                  <a:lnTo>
                    <a:pt x="8014" y="5253"/>
                  </a:lnTo>
                  <a:lnTo>
                    <a:pt x="8552" y="4007"/>
                  </a:lnTo>
                  <a:lnTo>
                    <a:pt x="9091" y="2762"/>
                  </a:lnTo>
                  <a:lnTo>
                    <a:pt x="9327" y="2122"/>
                  </a:lnTo>
                  <a:lnTo>
                    <a:pt x="9529" y="1482"/>
                  </a:lnTo>
                  <a:lnTo>
                    <a:pt x="9697" y="809"/>
                  </a:lnTo>
                  <a:lnTo>
                    <a:pt x="9866" y="169"/>
                  </a:lnTo>
                  <a:lnTo>
                    <a:pt x="9899" y="203"/>
                  </a:lnTo>
                  <a:lnTo>
                    <a:pt x="10371" y="371"/>
                  </a:lnTo>
                  <a:lnTo>
                    <a:pt x="10775" y="540"/>
                  </a:lnTo>
                  <a:lnTo>
                    <a:pt x="11650" y="977"/>
                  </a:lnTo>
                  <a:lnTo>
                    <a:pt x="12088" y="1146"/>
                  </a:lnTo>
                  <a:lnTo>
                    <a:pt x="12559" y="1280"/>
                  </a:lnTo>
                  <a:lnTo>
                    <a:pt x="13468" y="1583"/>
                  </a:lnTo>
                  <a:lnTo>
                    <a:pt x="14478" y="1920"/>
                  </a:lnTo>
                  <a:lnTo>
                    <a:pt x="15488" y="2358"/>
                  </a:lnTo>
                  <a:lnTo>
                    <a:pt x="17474" y="3233"/>
                  </a:lnTo>
                  <a:lnTo>
                    <a:pt x="18586" y="3671"/>
                  </a:lnTo>
                  <a:lnTo>
                    <a:pt x="19697" y="4108"/>
                  </a:lnTo>
                  <a:lnTo>
                    <a:pt x="20740" y="4546"/>
                  </a:lnTo>
                  <a:lnTo>
                    <a:pt x="20841" y="4580"/>
                  </a:lnTo>
                  <a:lnTo>
                    <a:pt x="20841" y="4243"/>
                  </a:lnTo>
                  <a:lnTo>
                    <a:pt x="20033" y="3940"/>
                  </a:lnTo>
                  <a:lnTo>
                    <a:pt x="18720" y="3435"/>
                  </a:lnTo>
                  <a:lnTo>
                    <a:pt x="17407" y="2896"/>
                  </a:lnTo>
                  <a:lnTo>
                    <a:pt x="15488" y="2055"/>
                  </a:lnTo>
                  <a:lnTo>
                    <a:pt x="14512" y="1651"/>
                  </a:lnTo>
                  <a:lnTo>
                    <a:pt x="13535" y="1314"/>
                  </a:lnTo>
                  <a:lnTo>
                    <a:pt x="12458" y="977"/>
                  </a:lnTo>
                  <a:lnTo>
                    <a:pt x="11919" y="775"/>
                  </a:lnTo>
                  <a:lnTo>
                    <a:pt x="11414" y="540"/>
                  </a:lnTo>
                  <a:lnTo>
                    <a:pt x="11044" y="371"/>
                  </a:lnTo>
                  <a:lnTo>
                    <a:pt x="10674" y="203"/>
                  </a:lnTo>
                  <a:lnTo>
                    <a:pt x="10337" y="102"/>
                  </a:lnTo>
                  <a:lnTo>
                    <a:pt x="9933" y="35"/>
                  </a:lnTo>
                  <a:lnTo>
                    <a:pt x="9899" y="35"/>
                  </a:lnTo>
                  <a:lnTo>
                    <a:pt x="9866" y="68"/>
                  </a:lnTo>
                  <a:lnTo>
                    <a:pt x="9832"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08" name="Google Shape;1808;p12"/>
            <p:cNvSpPr/>
            <p:nvPr/>
          </p:nvSpPr>
          <p:spPr>
            <a:xfrm>
              <a:off x="6848670" y="3911827"/>
              <a:ext cx="13485" cy="28562"/>
            </a:xfrm>
            <a:custGeom>
              <a:avLst/>
              <a:gdLst/>
              <a:ahLst/>
              <a:cxnLst/>
              <a:rect l="l" t="t" r="r" b="b"/>
              <a:pathLst>
                <a:path w="271" h="574" extrusionOk="0">
                  <a:moveTo>
                    <a:pt x="68" y="1"/>
                  </a:moveTo>
                  <a:lnTo>
                    <a:pt x="35" y="35"/>
                  </a:lnTo>
                  <a:lnTo>
                    <a:pt x="1" y="68"/>
                  </a:lnTo>
                  <a:lnTo>
                    <a:pt x="1" y="102"/>
                  </a:lnTo>
                  <a:lnTo>
                    <a:pt x="136" y="338"/>
                  </a:lnTo>
                  <a:lnTo>
                    <a:pt x="270" y="573"/>
                  </a:lnTo>
                  <a:lnTo>
                    <a:pt x="270" y="169"/>
                  </a:lnTo>
                  <a:lnTo>
                    <a:pt x="136" y="35"/>
                  </a:lnTo>
                  <a:lnTo>
                    <a:pt x="68"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09" name="Google Shape;1809;p12"/>
            <p:cNvSpPr/>
            <p:nvPr/>
          </p:nvSpPr>
          <p:spPr>
            <a:xfrm>
              <a:off x="6845336" y="3940339"/>
              <a:ext cx="16819" cy="50307"/>
            </a:xfrm>
            <a:custGeom>
              <a:avLst/>
              <a:gdLst/>
              <a:ahLst/>
              <a:cxnLst/>
              <a:rect l="l" t="t" r="r" b="b"/>
              <a:pathLst>
                <a:path w="338" h="1011" extrusionOk="0">
                  <a:moveTo>
                    <a:pt x="68" y="0"/>
                  </a:moveTo>
                  <a:lnTo>
                    <a:pt x="34" y="34"/>
                  </a:lnTo>
                  <a:lnTo>
                    <a:pt x="1" y="101"/>
                  </a:lnTo>
                  <a:lnTo>
                    <a:pt x="1" y="202"/>
                  </a:lnTo>
                  <a:lnTo>
                    <a:pt x="34" y="371"/>
                  </a:lnTo>
                  <a:lnTo>
                    <a:pt x="102" y="539"/>
                  </a:lnTo>
                  <a:lnTo>
                    <a:pt x="169" y="707"/>
                  </a:lnTo>
                  <a:lnTo>
                    <a:pt x="337" y="1010"/>
                  </a:lnTo>
                  <a:lnTo>
                    <a:pt x="337" y="505"/>
                  </a:lnTo>
                  <a:lnTo>
                    <a:pt x="236" y="270"/>
                  </a:lnTo>
                  <a:lnTo>
                    <a:pt x="102" y="68"/>
                  </a:lnTo>
                  <a:lnTo>
                    <a:pt x="102" y="34"/>
                  </a:lnTo>
                  <a:lnTo>
                    <a:pt x="68"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grpSp>
      <p:grpSp>
        <p:nvGrpSpPr>
          <p:cNvPr id="1810" name="Google Shape;1810;p12"/>
          <p:cNvGrpSpPr/>
          <p:nvPr/>
        </p:nvGrpSpPr>
        <p:grpSpPr>
          <a:xfrm>
            <a:off x="4617217" y="6299145"/>
            <a:ext cx="2957536" cy="563017"/>
            <a:chOff x="2330363" y="4724358"/>
            <a:chExt cx="2218152" cy="422263"/>
          </a:xfrm>
        </p:grpSpPr>
        <p:sp>
          <p:nvSpPr>
            <p:cNvPr id="1811" name="Google Shape;1811;p12"/>
            <p:cNvSpPr/>
            <p:nvPr/>
          </p:nvSpPr>
          <p:spPr>
            <a:xfrm>
              <a:off x="4117941" y="4942157"/>
              <a:ext cx="124002" cy="132411"/>
            </a:xfrm>
            <a:custGeom>
              <a:avLst/>
              <a:gdLst/>
              <a:ahLst/>
              <a:cxnLst/>
              <a:rect l="l" t="t" r="r" b="b"/>
              <a:pathLst>
                <a:path w="2492" h="2661" extrusionOk="0">
                  <a:moveTo>
                    <a:pt x="1885" y="135"/>
                  </a:moveTo>
                  <a:lnTo>
                    <a:pt x="2289" y="169"/>
                  </a:lnTo>
                  <a:lnTo>
                    <a:pt x="2323" y="203"/>
                  </a:lnTo>
                  <a:lnTo>
                    <a:pt x="2357" y="270"/>
                  </a:lnTo>
                  <a:lnTo>
                    <a:pt x="2357" y="539"/>
                  </a:lnTo>
                  <a:lnTo>
                    <a:pt x="2357" y="1011"/>
                  </a:lnTo>
                  <a:lnTo>
                    <a:pt x="2323" y="1617"/>
                  </a:lnTo>
                  <a:lnTo>
                    <a:pt x="2289" y="2223"/>
                  </a:lnTo>
                  <a:lnTo>
                    <a:pt x="2256" y="2324"/>
                  </a:lnTo>
                  <a:lnTo>
                    <a:pt x="2256" y="2391"/>
                  </a:lnTo>
                  <a:lnTo>
                    <a:pt x="2222" y="2425"/>
                  </a:lnTo>
                  <a:lnTo>
                    <a:pt x="2121" y="2425"/>
                  </a:lnTo>
                  <a:lnTo>
                    <a:pt x="1650" y="2492"/>
                  </a:lnTo>
                  <a:lnTo>
                    <a:pt x="741" y="2492"/>
                  </a:lnTo>
                  <a:lnTo>
                    <a:pt x="505" y="2425"/>
                  </a:lnTo>
                  <a:lnTo>
                    <a:pt x="404" y="2391"/>
                  </a:lnTo>
                  <a:lnTo>
                    <a:pt x="337" y="2324"/>
                  </a:lnTo>
                  <a:lnTo>
                    <a:pt x="236" y="2156"/>
                  </a:lnTo>
                  <a:lnTo>
                    <a:pt x="202" y="1920"/>
                  </a:lnTo>
                  <a:lnTo>
                    <a:pt x="135" y="1516"/>
                  </a:lnTo>
                  <a:lnTo>
                    <a:pt x="101" y="1112"/>
                  </a:lnTo>
                  <a:lnTo>
                    <a:pt x="135" y="674"/>
                  </a:lnTo>
                  <a:lnTo>
                    <a:pt x="202" y="270"/>
                  </a:lnTo>
                  <a:lnTo>
                    <a:pt x="236" y="270"/>
                  </a:lnTo>
                  <a:lnTo>
                    <a:pt x="269" y="236"/>
                  </a:lnTo>
                  <a:lnTo>
                    <a:pt x="875" y="203"/>
                  </a:lnTo>
                  <a:lnTo>
                    <a:pt x="1515" y="135"/>
                  </a:lnTo>
                  <a:close/>
                  <a:moveTo>
                    <a:pt x="1279" y="1"/>
                  </a:moveTo>
                  <a:lnTo>
                    <a:pt x="135" y="102"/>
                  </a:lnTo>
                  <a:lnTo>
                    <a:pt x="101" y="135"/>
                  </a:lnTo>
                  <a:lnTo>
                    <a:pt x="67" y="169"/>
                  </a:lnTo>
                  <a:lnTo>
                    <a:pt x="67" y="203"/>
                  </a:lnTo>
                  <a:lnTo>
                    <a:pt x="101" y="236"/>
                  </a:lnTo>
                  <a:lnTo>
                    <a:pt x="135" y="236"/>
                  </a:lnTo>
                  <a:lnTo>
                    <a:pt x="67" y="472"/>
                  </a:lnTo>
                  <a:lnTo>
                    <a:pt x="34" y="708"/>
                  </a:lnTo>
                  <a:lnTo>
                    <a:pt x="0" y="1213"/>
                  </a:lnTo>
                  <a:lnTo>
                    <a:pt x="34" y="1752"/>
                  </a:lnTo>
                  <a:lnTo>
                    <a:pt x="67" y="2088"/>
                  </a:lnTo>
                  <a:lnTo>
                    <a:pt x="135" y="2223"/>
                  </a:lnTo>
                  <a:lnTo>
                    <a:pt x="202" y="2391"/>
                  </a:lnTo>
                  <a:lnTo>
                    <a:pt x="236" y="2459"/>
                  </a:lnTo>
                  <a:lnTo>
                    <a:pt x="303" y="2526"/>
                  </a:lnTo>
                  <a:lnTo>
                    <a:pt x="438" y="2593"/>
                  </a:lnTo>
                  <a:lnTo>
                    <a:pt x="606" y="2627"/>
                  </a:lnTo>
                  <a:lnTo>
                    <a:pt x="741" y="2627"/>
                  </a:lnTo>
                  <a:lnTo>
                    <a:pt x="1212" y="2661"/>
                  </a:lnTo>
                  <a:lnTo>
                    <a:pt x="1683" y="2627"/>
                  </a:lnTo>
                  <a:lnTo>
                    <a:pt x="2020" y="2627"/>
                  </a:lnTo>
                  <a:lnTo>
                    <a:pt x="2222" y="2593"/>
                  </a:lnTo>
                  <a:lnTo>
                    <a:pt x="2289" y="2560"/>
                  </a:lnTo>
                  <a:lnTo>
                    <a:pt x="2357" y="2526"/>
                  </a:lnTo>
                  <a:lnTo>
                    <a:pt x="2424" y="2358"/>
                  </a:lnTo>
                  <a:lnTo>
                    <a:pt x="2458" y="2156"/>
                  </a:lnTo>
                  <a:lnTo>
                    <a:pt x="2458" y="1785"/>
                  </a:lnTo>
                  <a:lnTo>
                    <a:pt x="2491" y="943"/>
                  </a:lnTo>
                  <a:lnTo>
                    <a:pt x="2491" y="102"/>
                  </a:lnTo>
                  <a:lnTo>
                    <a:pt x="2491" y="68"/>
                  </a:lnTo>
                  <a:lnTo>
                    <a:pt x="2458" y="34"/>
                  </a:lnTo>
                  <a:lnTo>
                    <a:pt x="2155"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12" name="Google Shape;1812;p12"/>
            <p:cNvSpPr/>
            <p:nvPr/>
          </p:nvSpPr>
          <p:spPr>
            <a:xfrm>
              <a:off x="4171533" y="4979029"/>
              <a:ext cx="33538" cy="35230"/>
            </a:xfrm>
            <a:custGeom>
              <a:avLst/>
              <a:gdLst/>
              <a:ahLst/>
              <a:cxnLst/>
              <a:rect l="l" t="t" r="r" b="b"/>
              <a:pathLst>
                <a:path w="674" h="708" extrusionOk="0">
                  <a:moveTo>
                    <a:pt x="169" y="0"/>
                  </a:moveTo>
                  <a:lnTo>
                    <a:pt x="135" y="101"/>
                  </a:lnTo>
                  <a:lnTo>
                    <a:pt x="135" y="202"/>
                  </a:lnTo>
                  <a:lnTo>
                    <a:pt x="68" y="202"/>
                  </a:lnTo>
                  <a:lnTo>
                    <a:pt x="0" y="236"/>
                  </a:lnTo>
                  <a:lnTo>
                    <a:pt x="0" y="303"/>
                  </a:lnTo>
                  <a:lnTo>
                    <a:pt x="34" y="337"/>
                  </a:lnTo>
                  <a:lnTo>
                    <a:pt x="135" y="337"/>
                  </a:lnTo>
                  <a:lnTo>
                    <a:pt x="135" y="505"/>
                  </a:lnTo>
                  <a:lnTo>
                    <a:pt x="135" y="674"/>
                  </a:lnTo>
                  <a:lnTo>
                    <a:pt x="169" y="708"/>
                  </a:lnTo>
                  <a:lnTo>
                    <a:pt x="236" y="708"/>
                  </a:lnTo>
                  <a:lnTo>
                    <a:pt x="270" y="674"/>
                  </a:lnTo>
                  <a:lnTo>
                    <a:pt x="270" y="505"/>
                  </a:lnTo>
                  <a:lnTo>
                    <a:pt x="270" y="303"/>
                  </a:lnTo>
                  <a:lnTo>
                    <a:pt x="337" y="303"/>
                  </a:lnTo>
                  <a:lnTo>
                    <a:pt x="505" y="337"/>
                  </a:lnTo>
                  <a:lnTo>
                    <a:pt x="640" y="337"/>
                  </a:lnTo>
                  <a:lnTo>
                    <a:pt x="674" y="303"/>
                  </a:lnTo>
                  <a:lnTo>
                    <a:pt x="674" y="270"/>
                  </a:lnTo>
                  <a:lnTo>
                    <a:pt x="674" y="202"/>
                  </a:lnTo>
                  <a:lnTo>
                    <a:pt x="606" y="169"/>
                  </a:lnTo>
                  <a:lnTo>
                    <a:pt x="270" y="169"/>
                  </a:lnTo>
                  <a:lnTo>
                    <a:pt x="270" y="68"/>
                  </a:lnTo>
                  <a:lnTo>
                    <a:pt x="236"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13" name="Google Shape;1813;p12"/>
            <p:cNvSpPr/>
            <p:nvPr/>
          </p:nvSpPr>
          <p:spPr>
            <a:xfrm>
              <a:off x="3876655" y="5019235"/>
              <a:ext cx="26870" cy="35230"/>
            </a:xfrm>
            <a:custGeom>
              <a:avLst/>
              <a:gdLst/>
              <a:ahLst/>
              <a:cxnLst/>
              <a:rect l="l" t="t" r="r" b="b"/>
              <a:pathLst>
                <a:path w="540" h="708" extrusionOk="0">
                  <a:moveTo>
                    <a:pt x="405" y="135"/>
                  </a:moveTo>
                  <a:lnTo>
                    <a:pt x="405" y="236"/>
                  </a:lnTo>
                  <a:lnTo>
                    <a:pt x="405" y="304"/>
                  </a:lnTo>
                  <a:lnTo>
                    <a:pt x="338" y="472"/>
                  </a:lnTo>
                  <a:lnTo>
                    <a:pt x="270" y="607"/>
                  </a:lnTo>
                  <a:lnTo>
                    <a:pt x="203" y="607"/>
                  </a:lnTo>
                  <a:lnTo>
                    <a:pt x="169" y="506"/>
                  </a:lnTo>
                  <a:lnTo>
                    <a:pt x="136" y="405"/>
                  </a:lnTo>
                  <a:lnTo>
                    <a:pt x="136" y="304"/>
                  </a:lnTo>
                  <a:lnTo>
                    <a:pt x="203" y="236"/>
                  </a:lnTo>
                  <a:lnTo>
                    <a:pt x="371" y="169"/>
                  </a:lnTo>
                  <a:lnTo>
                    <a:pt x="338" y="135"/>
                  </a:lnTo>
                  <a:close/>
                  <a:moveTo>
                    <a:pt x="371" y="1"/>
                  </a:moveTo>
                  <a:lnTo>
                    <a:pt x="270" y="34"/>
                  </a:lnTo>
                  <a:lnTo>
                    <a:pt x="203" y="102"/>
                  </a:lnTo>
                  <a:lnTo>
                    <a:pt x="136" y="169"/>
                  </a:lnTo>
                  <a:lnTo>
                    <a:pt x="68" y="236"/>
                  </a:lnTo>
                  <a:lnTo>
                    <a:pt x="1" y="337"/>
                  </a:lnTo>
                  <a:lnTo>
                    <a:pt x="1" y="405"/>
                  </a:lnTo>
                  <a:lnTo>
                    <a:pt x="68" y="607"/>
                  </a:lnTo>
                  <a:lnTo>
                    <a:pt x="136" y="674"/>
                  </a:lnTo>
                  <a:lnTo>
                    <a:pt x="203" y="708"/>
                  </a:lnTo>
                  <a:lnTo>
                    <a:pt x="270" y="708"/>
                  </a:lnTo>
                  <a:lnTo>
                    <a:pt x="371" y="674"/>
                  </a:lnTo>
                  <a:lnTo>
                    <a:pt x="439" y="607"/>
                  </a:lnTo>
                  <a:lnTo>
                    <a:pt x="472" y="539"/>
                  </a:lnTo>
                  <a:lnTo>
                    <a:pt x="506" y="337"/>
                  </a:lnTo>
                  <a:lnTo>
                    <a:pt x="540" y="169"/>
                  </a:lnTo>
                  <a:lnTo>
                    <a:pt x="506" y="68"/>
                  </a:lnTo>
                  <a:lnTo>
                    <a:pt x="439" y="34"/>
                  </a:lnTo>
                  <a:lnTo>
                    <a:pt x="371"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14" name="Google Shape;1814;p12"/>
            <p:cNvSpPr/>
            <p:nvPr/>
          </p:nvSpPr>
          <p:spPr>
            <a:xfrm>
              <a:off x="2377237" y="4851694"/>
              <a:ext cx="134103" cy="77128"/>
            </a:xfrm>
            <a:custGeom>
              <a:avLst/>
              <a:gdLst/>
              <a:ahLst/>
              <a:cxnLst/>
              <a:rect l="l" t="t" r="r" b="b"/>
              <a:pathLst>
                <a:path w="2695" h="1550" extrusionOk="0">
                  <a:moveTo>
                    <a:pt x="2021" y="135"/>
                  </a:moveTo>
                  <a:lnTo>
                    <a:pt x="2358" y="169"/>
                  </a:lnTo>
                  <a:lnTo>
                    <a:pt x="2492" y="236"/>
                  </a:lnTo>
                  <a:lnTo>
                    <a:pt x="2560" y="304"/>
                  </a:lnTo>
                  <a:lnTo>
                    <a:pt x="2593" y="438"/>
                  </a:lnTo>
                  <a:lnTo>
                    <a:pt x="2593" y="573"/>
                  </a:lnTo>
                  <a:lnTo>
                    <a:pt x="2560" y="876"/>
                  </a:lnTo>
                  <a:lnTo>
                    <a:pt x="2492" y="1112"/>
                  </a:lnTo>
                  <a:lnTo>
                    <a:pt x="2459" y="1246"/>
                  </a:lnTo>
                  <a:lnTo>
                    <a:pt x="2391" y="1314"/>
                  </a:lnTo>
                  <a:lnTo>
                    <a:pt x="2324" y="1347"/>
                  </a:lnTo>
                  <a:lnTo>
                    <a:pt x="2223" y="1381"/>
                  </a:lnTo>
                  <a:lnTo>
                    <a:pt x="1617" y="1448"/>
                  </a:lnTo>
                  <a:lnTo>
                    <a:pt x="1146" y="1448"/>
                  </a:lnTo>
                  <a:lnTo>
                    <a:pt x="641" y="1415"/>
                  </a:lnTo>
                  <a:lnTo>
                    <a:pt x="270" y="1381"/>
                  </a:lnTo>
                  <a:lnTo>
                    <a:pt x="203" y="1381"/>
                  </a:lnTo>
                  <a:lnTo>
                    <a:pt x="169" y="1347"/>
                  </a:lnTo>
                  <a:lnTo>
                    <a:pt x="136" y="1246"/>
                  </a:lnTo>
                  <a:lnTo>
                    <a:pt x="102" y="1044"/>
                  </a:lnTo>
                  <a:lnTo>
                    <a:pt x="136" y="607"/>
                  </a:lnTo>
                  <a:lnTo>
                    <a:pt x="169" y="169"/>
                  </a:lnTo>
                  <a:lnTo>
                    <a:pt x="540" y="203"/>
                  </a:lnTo>
                  <a:lnTo>
                    <a:pt x="910" y="169"/>
                  </a:lnTo>
                  <a:lnTo>
                    <a:pt x="1651" y="135"/>
                  </a:lnTo>
                  <a:close/>
                  <a:moveTo>
                    <a:pt x="1785" y="1"/>
                  </a:moveTo>
                  <a:lnTo>
                    <a:pt x="1247" y="34"/>
                  </a:lnTo>
                  <a:lnTo>
                    <a:pt x="674" y="68"/>
                  </a:lnTo>
                  <a:lnTo>
                    <a:pt x="405" y="68"/>
                  </a:lnTo>
                  <a:lnTo>
                    <a:pt x="169" y="34"/>
                  </a:lnTo>
                  <a:lnTo>
                    <a:pt x="68" y="34"/>
                  </a:lnTo>
                  <a:lnTo>
                    <a:pt x="68" y="102"/>
                  </a:lnTo>
                  <a:lnTo>
                    <a:pt x="68" y="135"/>
                  </a:lnTo>
                  <a:lnTo>
                    <a:pt x="35" y="472"/>
                  </a:lnTo>
                  <a:lnTo>
                    <a:pt x="1" y="910"/>
                  </a:lnTo>
                  <a:lnTo>
                    <a:pt x="1" y="1145"/>
                  </a:lnTo>
                  <a:lnTo>
                    <a:pt x="35" y="1314"/>
                  </a:lnTo>
                  <a:lnTo>
                    <a:pt x="68" y="1448"/>
                  </a:lnTo>
                  <a:lnTo>
                    <a:pt x="136" y="1482"/>
                  </a:lnTo>
                  <a:lnTo>
                    <a:pt x="169" y="1516"/>
                  </a:lnTo>
                  <a:lnTo>
                    <a:pt x="775" y="1549"/>
                  </a:lnTo>
                  <a:lnTo>
                    <a:pt x="1348" y="1549"/>
                  </a:lnTo>
                  <a:lnTo>
                    <a:pt x="1920" y="1516"/>
                  </a:lnTo>
                  <a:lnTo>
                    <a:pt x="2492" y="1448"/>
                  </a:lnTo>
                  <a:lnTo>
                    <a:pt x="2526" y="1415"/>
                  </a:lnTo>
                  <a:lnTo>
                    <a:pt x="2526" y="1381"/>
                  </a:lnTo>
                  <a:lnTo>
                    <a:pt x="2627" y="1011"/>
                  </a:lnTo>
                  <a:lnTo>
                    <a:pt x="2661" y="809"/>
                  </a:lnTo>
                  <a:lnTo>
                    <a:pt x="2694" y="607"/>
                  </a:lnTo>
                  <a:lnTo>
                    <a:pt x="2694" y="405"/>
                  </a:lnTo>
                  <a:lnTo>
                    <a:pt x="2627" y="270"/>
                  </a:lnTo>
                  <a:lnTo>
                    <a:pt x="2593" y="169"/>
                  </a:lnTo>
                  <a:lnTo>
                    <a:pt x="2526" y="135"/>
                  </a:lnTo>
                  <a:lnTo>
                    <a:pt x="2425" y="68"/>
                  </a:lnTo>
                  <a:lnTo>
                    <a:pt x="2324" y="34"/>
                  </a:lnTo>
                  <a:lnTo>
                    <a:pt x="2055"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15" name="Google Shape;1815;p12"/>
            <p:cNvSpPr/>
            <p:nvPr/>
          </p:nvSpPr>
          <p:spPr>
            <a:xfrm>
              <a:off x="4019068" y="5000824"/>
              <a:ext cx="31896" cy="8409"/>
            </a:xfrm>
            <a:custGeom>
              <a:avLst/>
              <a:gdLst/>
              <a:ahLst/>
              <a:cxnLst/>
              <a:rect l="l" t="t" r="r" b="b"/>
              <a:pathLst>
                <a:path w="641" h="169" extrusionOk="0">
                  <a:moveTo>
                    <a:pt x="34" y="0"/>
                  </a:moveTo>
                  <a:lnTo>
                    <a:pt x="1" y="34"/>
                  </a:lnTo>
                  <a:lnTo>
                    <a:pt x="1" y="101"/>
                  </a:lnTo>
                  <a:lnTo>
                    <a:pt x="135" y="135"/>
                  </a:lnTo>
                  <a:lnTo>
                    <a:pt x="270" y="169"/>
                  </a:lnTo>
                  <a:lnTo>
                    <a:pt x="573" y="169"/>
                  </a:lnTo>
                  <a:lnTo>
                    <a:pt x="607" y="135"/>
                  </a:lnTo>
                  <a:lnTo>
                    <a:pt x="640" y="101"/>
                  </a:lnTo>
                  <a:lnTo>
                    <a:pt x="640" y="67"/>
                  </a:lnTo>
                  <a:lnTo>
                    <a:pt x="607" y="34"/>
                  </a:lnTo>
                  <a:lnTo>
                    <a:pt x="472"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16" name="Google Shape;1816;p12"/>
            <p:cNvSpPr/>
            <p:nvPr/>
          </p:nvSpPr>
          <p:spPr>
            <a:xfrm>
              <a:off x="3962093" y="4940515"/>
              <a:ext cx="139129" cy="132362"/>
            </a:xfrm>
            <a:custGeom>
              <a:avLst/>
              <a:gdLst/>
              <a:ahLst/>
              <a:cxnLst/>
              <a:rect l="l" t="t" r="r" b="b"/>
              <a:pathLst>
                <a:path w="2796" h="2660" extrusionOk="0">
                  <a:moveTo>
                    <a:pt x="439" y="0"/>
                  </a:moveTo>
                  <a:lnTo>
                    <a:pt x="203" y="67"/>
                  </a:lnTo>
                  <a:lnTo>
                    <a:pt x="102" y="101"/>
                  </a:lnTo>
                  <a:lnTo>
                    <a:pt x="35" y="168"/>
                  </a:lnTo>
                  <a:lnTo>
                    <a:pt x="1" y="236"/>
                  </a:lnTo>
                  <a:lnTo>
                    <a:pt x="35" y="269"/>
                  </a:lnTo>
                  <a:lnTo>
                    <a:pt x="102" y="269"/>
                  </a:lnTo>
                  <a:lnTo>
                    <a:pt x="136" y="236"/>
                  </a:lnTo>
                  <a:lnTo>
                    <a:pt x="203" y="202"/>
                  </a:lnTo>
                  <a:lnTo>
                    <a:pt x="304" y="168"/>
                  </a:lnTo>
                  <a:lnTo>
                    <a:pt x="540" y="135"/>
                  </a:lnTo>
                  <a:lnTo>
                    <a:pt x="977" y="168"/>
                  </a:lnTo>
                  <a:lnTo>
                    <a:pt x="1920" y="202"/>
                  </a:lnTo>
                  <a:lnTo>
                    <a:pt x="2257" y="236"/>
                  </a:lnTo>
                  <a:lnTo>
                    <a:pt x="2391" y="269"/>
                  </a:lnTo>
                  <a:lnTo>
                    <a:pt x="2526" y="337"/>
                  </a:lnTo>
                  <a:lnTo>
                    <a:pt x="2593" y="370"/>
                  </a:lnTo>
                  <a:lnTo>
                    <a:pt x="2627" y="438"/>
                  </a:lnTo>
                  <a:lnTo>
                    <a:pt x="2661" y="606"/>
                  </a:lnTo>
                  <a:lnTo>
                    <a:pt x="2627" y="909"/>
                  </a:lnTo>
                  <a:lnTo>
                    <a:pt x="2661" y="1549"/>
                  </a:lnTo>
                  <a:lnTo>
                    <a:pt x="2627" y="2189"/>
                  </a:lnTo>
                  <a:lnTo>
                    <a:pt x="2593" y="2424"/>
                  </a:lnTo>
                  <a:lnTo>
                    <a:pt x="2593" y="2458"/>
                  </a:lnTo>
                  <a:lnTo>
                    <a:pt x="2526" y="2458"/>
                  </a:lnTo>
                  <a:lnTo>
                    <a:pt x="2425" y="2492"/>
                  </a:lnTo>
                  <a:lnTo>
                    <a:pt x="2156" y="2492"/>
                  </a:lnTo>
                  <a:lnTo>
                    <a:pt x="1449" y="2458"/>
                  </a:lnTo>
                  <a:lnTo>
                    <a:pt x="1146" y="2492"/>
                  </a:lnTo>
                  <a:lnTo>
                    <a:pt x="843" y="2525"/>
                  </a:lnTo>
                  <a:lnTo>
                    <a:pt x="708" y="2525"/>
                  </a:lnTo>
                  <a:lnTo>
                    <a:pt x="573" y="2458"/>
                  </a:lnTo>
                  <a:lnTo>
                    <a:pt x="472" y="2391"/>
                  </a:lnTo>
                  <a:lnTo>
                    <a:pt x="405" y="2256"/>
                  </a:lnTo>
                  <a:lnTo>
                    <a:pt x="338" y="2020"/>
                  </a:lnTo>
                  <a:lnTo>
                    <a:pt x="304" y="1785"/>
                  </a:lnTo>
                  <a:lnTo>
                    <a:pt x="304" y="1246"/>
                  </a:lnTo>
                  <a:lnTo>
                    <a:pt x="304" y="774"/>
                  </a:lnTo>
                  <a:lnTo>
                    <a:pt x="338" y="303"/>
                  </a:lnTo>
                  <a:lnTo>
                    <a:pt x="304" y="269"/>
                  </a:lnTo>
                  <a:lnTo>
                    <a:pt x="304" y="236"/>
                  </a:lnTo>
                  <a:lnTo>
                    <a:pt x="270" y="236"/>
                  </a:lnTo>
                  <a:lnTo>
                    <a:pt x="237" y="269"/>
                  </a:lnTo>
                  <a:lnTo>
                    <a:pt x="203" y="505"/>
                  </a:lnTo>
                  <a:lnTo>
                    <a:pt x="169" y="774"/>
                  </a:lnTo>
                  <a:lnTo>
                    <a:pt x="169" y="1246"/>
                  </a:lnTo>
                  <a:lnTo>
                    <a:pt x="203" y="1852"/>
                  </a:lnTo>
                  <a:lnTo>
                    <a:pt x="237" y="2121"/>
                  </a:lnTo>
                  <a:lnTo>
                    <a:pt x="270" y="2290"/>
                  </a:lnTo>
                  <a:lnTo>
                    <a:pt x="304" y="2391"/>
                  </a:lnTo>
                  <a:lnTo>
                    <a:pt x="371" y="2492"/>
                  </a:lnTo>
                  <a:lnTo>
                    <a:pt x="472" y="2559"/>
                  </a:lnTo>
                  <a:lnTo>
                    <a:pt x="540" y="2593"/>
                  </a:lnTo>
                  <a:lnTo>
                    <a:pt x="641" y="2626"/>
                  </a:lnTo>
                  <a:lnTo>
                    <a:pt x="843" y="2660"/>
                  </a:lnTo>
                  <a:lnTo>
                    <a:pt x="1078" y="2626"/>
                  </a:lnTo>
                  <a:lnTo>
                    <a:pt x="2290" y="2626"/>
                  </a:lnTo>
                  <a:lnTo>
                    <a:pt x="2694" y="2593"/>
                  </a:lnTo>
                  <a:lnTo>
                    <a:pt x="2728" y="2559"/>
                  </a:lnTo>
                  <a:lnTo>
                    <a:pt x="2728" y="2525"/>
                  </a:lnTo>
                  <a:lnTo>
                    <a:pt x="2762" y="2054"/>
                  </a:lnTo>
                  <a:lnTo>
                    <a:pt x="2795" y="1616"/>
                  </a:lnTo>
                  <a:lnTo>
                    <a:pt x="2762" y="707"/>
                  </a:lnTo>
                  <a:lnTo>
                    <a:pt x="2762" y="438"/>
                  </a:lnTo>
                  <a:lnTo>
                    <a:pt x="2728" y="370"/>
                  </a:lnTo>
                  <a:lnTo>
                    <a:pt x="2661" y="269"/>
                  </a:lnTo>
                  <a:lnTo>
                    <a:pt x="2593" y="236"/>
                  </a:lnTo>
                  <a:lnTo>
                    <a:pt x="2526" y="168"/>
                  </a:lnTo>
                  <a:lnTo>
                    <a:pt x="2257" y="101"/>
                  </a:lnTo>
                  <a:lnTo>
                    <a:pt x="1920" y="67"/>
                  </a:lnTo>
                  <a:lnTo>
                    <a:pt x="1583" y="67"/>
                  </a:lnTo>
                  <a:lnTo>
                    <a:pt x="910" y="34"/>
                  </a:lnTo>
                  <a:lnTo>
                    <a:pt x="674"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17" name="Google Shape;1817;p12"/>
            <p:cNvSpPr/>
            <p:nvPr/>
          </p:nvSpPr>
          <p:spPr>
            <a:xfrm>
              <a:off x="3581827" y="4848360"/>
              <a:ext cx="134053" cy="83796"/>
            </a:xfrm>
            <a:custGeom>
              <a:avLst/>
              <a:gdLst/>
              <a:ahLst/>
              <a:cxnLst/>
              <a:rect l="l" t="t" r="r" b="b"/>
              <a:pathLst>
                <a:path w="2694" h="1684" extrusionOk="0">
                  <a:moveTo>
                    <a:pt x="707" y="135"/>
                  </a:moveTo>
                  <a:lnTo>
                    <a:pt x="977" y="202"/>
                  </a:lnTo>
                  <a:lnTo>
                    <a:pt x="1212" y="202"/>
                  </a:lnTo>
                  <a:lnTo>
                    <a:pt x="1886" y="236"/>
                  </a:lnTo>
                  <a:lnTo>
                    <a:pt x="2222" y="236"/>
                  </a:lnTo>
                  <a:lnTo>
                    <a:pt x="2559" y="202"/>
                  </a:lnTo>
                  <a:lnTo>
                    <a:pt x="2559" y="202"/>
                  </a:lnTo>
                  <a:lnTo>
                    <a:pt x="2492" y="707"/>
                  </a:lnTo>
                  <a:lnTo>
                    <a:pt x="2492" y="1179"/>
                  </a:lnTo>
                  <a:lnTo>
                    <a:pt x="2458" y="1313"/>
                  </a:lnTo>
                  <a:lnTo>
                    <a:pt x="2458" y="1414"/>
                  </a:lnTo>
                  <a:lnTo>
                    <a:pt x="2357" y="1482"/>
                  </a:lnTo>
                  <a:lnTo>
                    <a:pt x="2256" y="1482"/>
                  </a:lnTo>
                  <a:lnTo>
                    <a:pt x="1616" y="1515"/>
                  </a:lnTo>
                  <a:lnTo>
                    <a:pt x="1313" y="1515"/>
                  </a:lnTo>
                  <a:lnTo>
                    <a:pt x="876" y="1549"/>
                  </a:lnTo>
                  <a:lnTo>
                    <a:pt x="640" y="1515"/>
                  </a:lnTo>
                  <a:lnTo>
                    <a:pt x="438" y="1515"/>
                  </a:lnTo>
                  <a:lnTo>
                    <a:pt x="303" y="1448"/>
                  </a:lnTo>
                  <a:lnTo>
                    <a:pt x="270" y="1414"/>
                  </a:lnTo>
                  <a:lnTo>
                    <a:pt x="236" y="1381"/>
                  </a:lnTo>
                  <a:lnTo>
                    <a:pt x="202" y="606"/>
                  </a:lnTo>
                  <a:lnTo>
                    <a:pt x="202" y="303"/>
                  </a:lnTo>
                  <a:lnTo>
                    <a:pt x="202" y="236"/>
                  </a:lnTo>
                  <a:lnTo>
                    <a:pt x="169" y="270"/>
                  </a:lnTo>
                  <a:lnTo>
                    <a:pt x="135" y="236"/>
                  </a:lnTo>
                  <a:lnTo>
                    <a:pt x="169" y="236"/>
                  </a:lnTo>
                  <a:lnTo>
                    <a:pt x="169" y="202"/>
                  </a:lnTo>
                  <a:lnTo>
                    <a:pt x="169" y="169"/>
                  </a:lnTo>
                  <a:lnTo>
                    <a:pt x="438" y="135"/>
                  </a:lnTo>
                  <a:close/>
                  <a:moveTo>
                    <a:pt x="270" y="0"/>
                  </a:moveTo>
                  <a:lnTo>
                    <a:pt x="135" y="34"/>
                  </a:lnTo>
                  <a:lnTo>
                    <a:pt x="34" y="68"/>
                  </a:lnTo>
                  <a:lnTo>
                    <a:pt x="0" y="101"/>
                  </a:lnTo>
                  <a:lnTo>
                    <a:pt x="0" y="169"/>
                  </a:lnTo>
                  <a:lnTo>
                    <a:pt x="34" y="202"/>
                  </a:lnTo>
                  <a:lnTo>
                    <a:pt x="101" y="202"/>
                  </a:lnTo>
                  <a:lnTo>
                    <a:pt x="68" y="337"/>
                  </a:lnTo>
                  <a:lnTo>
                    <a:pt x="68" y="472"/>
                  </a:lnTo>
                  <a:lnTo>
                    <a:pt x="68" y="1010"/>
                  </a:lnTo>
                  <a:lnTo>
                    <a:pt x="101" y="1515"/>
                  </a:lnTo>
                  <a:lnTo>
                    <a:pt x="135" y="1549"/>
                  </a:lnTo>
                  <a:lnTo>
                    <a:pt x="169" y="1583"/>
                  </a:lnTo>
                  <a:lnTo>
                    <a:pt x="438" y="1650"/>
                  </a:lnTo>
                  <a:lnTo>
                    <a:pt x="707" y="1684"/>
                  </a:lnTo>
                  <a:lnTo>
                    <a:pt x="2121" y="1684"/>
                  </a:lnTo>
                  <a:lnTo>
                    <a:pt x="2391" y="1650"/>
                  </a:lnTo>
                  <a:lnTo>
                    <a:pt x="2492" y="1616"/>
                  </a:lnTo>
                  <a:lnTo>
                    <a:pt x="2559" y="1549"/>
                  </a:lnTo>
                  <a:lnTo>
                    <a:pt x="2593" y="1482"/>
                  </a:lnTo>
                  <a:lnTo>
                    <a:pt x="2626" y="1381"/>
                  </a:lnTo>
                  <a:lnTo>
                    <a:pt x="2626" y="775"/>
                  </a:lnTo>
                  <a:lnTo>
                    <a:pt x="2660" y="472"/>
                  </a:lnTo>
                  <a:lnTo>
                    <a:pt x="2694" y="169"/>
                  </a:lnTo>
                  <a:lnTo>
                    <a:pt x="2660" y="101"/>
                  </a:lnTo>
                  <a:lnTo>
                    <a:pt x="2593" y="68"/>
                  </a:lnTo>
                  <a:lnTo>
                    <a:pt x="2222" y="101"/>
                  </a:lnTo>
                  <a:lnTo>
                    <a:pt x="1818" y="101"/>
                  </a:lnTo>
                  <a:lnTo>
                    <a:pt x="977" y="34"/>
                  </a:lnTo>
                  <a:lnTo>
                    <a:pt x="505"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18" name="Google Shape;1818;p12"/>
            <p:cNvSpPr/>
            <p:nvPr/>
          </p:nvSpPr>
          <p:spPr>
            <a:xfrm>
              <a:off x="3539929" y="4942157"/>
              <a:ext cx="120668" cy="129077"/>
            </a:xfrm>
            <a:custGeom>
              <a:avLst/>
              <a:gdLst/>
              <a:ahLst/>
              <a:cxnLst/>
              <a:rect l="l" t="t" r="r" b="b"/>
              <a:pathLst>
                <a:path w="2425" h="2594" extrusionOk="0">
                  <a:moveTo>
                    <a:pt x="1044" y="1"/>
                  </a:moveTo>
                  <a:lnTo>
                    <a:pt x="640" y="34"/>
                  </a:lnTo>
                  <a:lnTo>
                    <a:pt x="371" y="68"/>
                  </a:lnTo>
                  <a:lnTo>
                    <a:pt x="270" y="102"/>
                  </a:lnTo>
                  <a:lnTo>
                    <a:pt x="135" y="169"/>
                  </a:lnTo>
                  <a:lnTo>
                    <a:pt x="102" y="270"/>
                  </a:lnTo>
                  <a:lnTo>
                    <a:pt x="68" y="371"/>
                  </a:lnTo>
                  <a:lnTo>
                    <a:pt x="68" y="607"/>
                  </a:lnTo>
                  <a:lnTo>
                    <a:pt x="34" y="1819"/>
                  </a:lnTo>
                  <a:lnTo>
                    <a:pt x="1" y="2122"/>
                  </a:lnTo>
                  <a:lnTo>
                    <a:pt x="34" y="2290"/>
                  </a:lnTo>
                  <a:lnTo>
                    <a:pt x="68" y="2358"/>
                  </a:lnTo>
                  <a:lnTo>
                    <a:pt x="102" y="2391"/>
                  </a:lnTo>
                  <a:lnTo>
                    <a:pt x="135" y="2391"/>
                  </a:lnTo>
                  <a:lnTo>
                    <a:pt x="135" y="2358"/>
                  </a:lnTo>
                  <a:lnTo>
                    <a:pt x="135" y="2257"/>
                  </a:lnTo>
                  <a:lnTo>
                    <a:pt x="135" y="2088"/>
                  </a:lnTo>
                  <a:lnTo>
                    <a:pt x="169" y="1819"/>
                  </a:lnTo>
                  <a:lnTo>
                    <a:pt x="203" y="842"/>
                  </a:lnTo>
                  <a:lnTo>
                    <a:pt x="203" y="539"/>
                  </a:lnTo>
                  <a:lnTo>
                    <a:pt x="236" y="371"/>
                  </a:lnTo>
                  <a:lnTo>
                    <a:pt x="270" y="304"/>
                  </a:lnTo>
                  <a:lnTo>
                    <a:pt x="337" y="236"/>
                  </a:lnTo>
                  <a:lnTo>
                    <a:pt x="539" y="169"/>
                  </a:lnTo>
                  <a:lnTo>
                    <a:pt x="775" y="135"/>
                  </a:lnTo>
                  <a:lnTo>
                    <a:pt x="1145" y="135"/>
                  </a:lnTo>
                  <a:lnTo>
                    <a:pt x="1549" y="169"/>
                  </a:lnTo>
                  <a:lnTo>
                    <a:pt x="1920" y="203"/>
                  </a:lnTo>
                  <a:lnTo>
                    <a:pt x="2290" y="304"/>
                  </a:lnTo>
                  <a:lnTo>
                    <a:pt x="2256" y="674"/>
                  </a:lnTo>
                  <a:lnTo>
                    <a:pt x="2290" y="1044"/>
                  </a:lnTo>
                  <a:lnTo>
                    <a:pt x="2223" y="1651"/>
                  </a:lnTo>
                  <a:lnTo>
                    <a:pt x="2189" y="2290"/>
                  </a:lnTo>
                  <a:lnTo>
                    <a:pt x="1886" y="2358"/>
                  </a:lnTo>
                  <a:lnTo>
                    <a:pt x="1549" y="2358"/>
                  </a:lnTo>
                  <a:lnTo>
                    <a:pt x="910" y="2290"/>
                  </a:lnTo>
                  <a:lnTo>
                    <a:pt x="438" y="2290"/>
                  </a:lnTo>
                  <a:lnTo>
                    <a:pt x="236" y="2358"/>
                  </a:lnTo>
                  <a:lnTo>
                    <a:pt x="135" y="2391"/>
                  </a:lnTo>
                  <a:lnTo>
                    <a:pt x="68" y="2492"/>
                  </a:lnTo>
                  <a:lnTo>
                    <a:pt x="68" y="2526"/>
                  </a:lnTo>
                  <a:lnTo>
                    <a:pt x="169" y="2526"/>
                  </a:lnTo>
                  <a:lnTo>
                    <a:pt x="304" y="2492"/>
                  </a:lnTo>
                  <a:lnTo>
                    <a:pt x="506" y="2459"/>
                  </a:lnTo>
                  <a:lnTo>
                    <a:pt x="809" y="2459"/>
                  </a:lnTo>
                  <a:lnTo>
                    <a:pt x="1112" y="2492"/>
                  </a:lnTo>
                  <a:lnTo>
                    <a:pt x="1650" y="2526"/>
                  </a:lnTo>
                  <a:lnTo>
                    <a:pt x="1920" y="2526"/>
                  </a:lnTo>
                  <a:lnTo>
                    <a:pt x="2189" y="2459"/>
                  </a:lnTo>
                  <a:lnTo>
                    <a:pt x="2189" y="2526"/>
                  </a:lnTo>
                  <a:lnTo>
                    <a:pt x="2223" y="2560"/>
                  </a:lnTo>
                  <a:lnTo>
                    <a:pt x="2256" y="2593"/>
                  </a:lnTo>
                  <a:lnTo>
                    <a:pt x="2290" y="2593"/>
                  </a:lnTo>
                  <a:lnTo>
                    <a:pt x="2324" y="2560"/>
                  </a:lnTo>
                  <a:lnTo>
                    <a:pt x="2357" y="2358"/>
                  </a:lnTo>
                  <a:lnTo>
                    <a:pt x="2357" y="2156"/>
                  </a:lnTo>
                  <a:lnTo>
                    <a:pt x="2391" y="1752"/>
                  </a:lnTo>
                  <a:lnTo>
                    <a:pt x="2391" y="1381"/>
                  </a:lnTo>
                  <a:lnTo>
                    <a:pt x="2425" y="977"/>
                  </a:lnTo>
                  <a:lnTo>
                    <a:pt x="2391" y="438"/>
                  </a:lnTo>
                  <a:lnTo>
                    <a:pt x="2391" y="304"/>
                  </a:lnTo>
                  <a:lnTo>
                    <a:pt x="2425" y="304"/>
                  </a:lnTo>
                  <a:lnTo>
                    <a:pt x="2425" y="236"/>
                  </a:lnTo>
                  <a:lnTo>
                    <a:pt x="2425" y="203"/>
                  </a:lnTo>
                  <a:lnTo>
                    <a:pt x="2391" y="169"/>
                  </a:lnTo>
                  <a:lnTo>
                    <a:pt x="2357" y="169"/>
                  </a:lnTo>
                  <a:lnTo>
                    <a:pt x="1953" y="68"/>
                  </a:lnTo>
                  <a:lnTo>
                    <a:pt x="1516"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19" name="Google Shape;1819;p12"/>
            <p:cNvSpPr/>
            <p:nvPr/>
          </p:nvSpPr>
          <p:spPr>
            <a:xfrm>
              <a:off x="4193327" y="5087904"/>
              <a:ext cx="122310" cy="58717"/>
            </a:xfrm>
            <a:custGeom>
              <a:avLst/>
              <a:gdLst/>
              <a:ahLst/>
              <a:cxnLst/>
              <a:rect l="l" t="t" r="r" b="b"/>
              <a:pathLst>
                <a:path w="2458" h="1180" extrusionOk="0">
                  <a:moveTo>
                    <a:pt x="1616" y="1"/>
                  </a:moveTo>
                  <a:lnTo>
                    <a:pt x="1178" y="68"/>
                  </a:lnTo>
                  <a:lnTo>
                    <a:pt x="909" y="102"/>
                  </a:lnTo>
                  <a:lnTo>
                    <a:pt x="640" y="68"/>
                  </a:lnTo>
                  <a:lnTo>
                    <a:pt x="404" y="68"/>
                  </a:lnTo>
                  <a:lnTo>
                    <a:pt x="168" y="136"/>
                  </a:lnTo>
                  <a:lnTo>
                    <a:pt x="168" y="102"/>
                  </a:lnTo>
                  <a:lnTo>
                    <a:pt x="135" y="68"/>
                  </a:lnTo>
                  <a:lnTo>
                    <a:pt x="101" y="68"/>
                  </a:lnTo>
                  <a:lnTo>
                    <a:pt x="67" y="102"/>
                  </a:lnTo>
                  <a:lnTo>
                    <a:pt x="34" y="371"/>
                  </a:lnTo>
                  <a:lnTo>
                    <a:pt x="34" y="641"/>
                  </a:lnTo>
                  <a:lnTo>
                    <a:pt x="0" y="1179"/>
                  </a:lnTo>
                  <a:lnTo>
                    <a:pt x="135" y="1179"/>
                  </a:lnTo>
                  <a:lnTo>
                    <a:pt x="168" y="742"/>
                  </a:lnTo>
                  <a:lnTo>
                    <a:pt x="135" y="270"/>
                  </a:lnTo>
                  <a:lnTo>
                    <a:pt x="404" y="237"/>
                  </a:lnTo>
                  <a:lnTo>
                    <a:pt x="673" y="203"/>
                  </a:lnTo>
                  <a:lnTo>
                    <a:pt x="1414" y="203"/>
                  </a:lnTo>
                  <a:lnTo>
                    <a:pt x="1616" y="169"/>
                  </a:lnTo>
                  <a:lnTo>
                    <a:pt x="1852" y="136"/>
                  </a:lnTo>
                  <a:lnTo>
                    <a:pt x="2054" y="136"/>
                  </a:lnTo>
                  <a:lnTo>
                    <a:pt x="2189" y="203"/>
                  </a:lnTo>
                  <a:lnTo>
                    <a:pt x="2256" y="304"/>
                  </a:lnTo>
                  <a:lnTo>
                    <a:pt x="2323" y="405"/>
                  </a:lnTo>
                  <a:lnTo>
                    <a:pt x="2357" y="573"/>
                  </a:lnTo>
                  <a:lnTo>
                    <a:pt x="2357" y="876"/>
                  </a:lnTo>
                  <a:lnTo>
                    <a:pt x="2357" y="1179"/>
                  </a:lnTo>
                  <a:lnTo>
                    <a:pt x="2458" y="1179"/>
                  </a:lnTo>
                  <a:lnTo>
                    <a:pt x="2458" y="843"/>
                  </a:lnTo>
                  <a:lnTo>
                    <a:pt x="2424" y="472"/>
                  </a:lnTo>
                  <a:lnTo>
                    <a:pt x="2391" y="338"/>
                  </a:lnTo>
                  <a:lnTo>
                    <a:pt x="2290" y="203"/>
                  </a:lnTo>
                  <a:lnTo>
                    <a:pt x="2189" y="68"/>
                  </a:lnTo>
                  <a:lnTo>
                    <a:pt x="2020"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20" name="Google Shape;1820;p12"/>
            <p:cNvSpPr/>
            <p:nvPr/>
          </p:nvSpPr>
          <p:spPr>
            <a:xfrm>
              <a:off x="4339075" y="5086262"/>
              <a:ext cx="129028" cy="60359"/>
            </a:xfrm>
            <a:custGeom>
              <a:avLst/>
              <a:gdLst/>
              <a:ahLst/>
              <a:cxnLst/>
              <a:rect l="l" t="t" r="r" b="b"/>
              <a:pathLst>
                <a:path w="2593" h="1213" extrusionOk="0">
                  <a:moveTo>
                    <a:pt x="472" y="0"/>
                  </a:moveTo>
                  <a:lnTo>
                    <a:pt x="101" y="101"/>
                  </a:lnTo>
                  <a:lnTo>
                    <a:pt x="68" y="135"/>
                  </a:lnTo>
                  <a:lnTo>
                    <a:pt x="68" y="169"/>
                  </a:lnTo>
                  <a:lnTo>
                    <a:pt x="0" y="674"/>
                  </a:lnTo>
                  <a:lnTo>
                    <a:pt x="0" y="1212"/>
                  </a:lnTo>
                  <a:lnTo>
                    <a:pt x="135" y="1212"/>
                  </a:lnTo>
                  <a:lnTo>
                    <a:pt x="135" y="741"/>
                  </a:lnTo>
                  <a:lnTo>
                    <a:pt x="169" y="472"/>
                  </a:lnTo>
                  <a:lnTo>
                    <a:pt x="169" y="337"/>
                  </a:lnTo>
                  <a:lnTo>
                    <a:pt x="135" y="202"/>
                  </a:lnTo>
                  <a:lnTo>
                    <a:pt x="438" y="169"/>
                  </a:lnTo>
                  <a:lnTo>
                    <a:pt x="741" y="135"/>
                  </a:lnTo>
                  <a:lnTo>
                    <a:pt x="2088" y="135"/>
                  </a:lnTo>
                  <a:lnTo>
                    <a:pt x="2222" y="169"/>
                  </a:lnTo>
                  <a:lnTo>
                    <a:pt x="2323" y="236"/>
                  </a:lnTo>
                  <a:lnTo>
                    <a:pt x="2391" y="337"/>
                  </a:lnTo>
                  <a:lnTo>
                    <a:pt x="2458" y="539"/>
                  </a:lnTo>
                  <a:lnTo>
                    <a:pt x="2458" y="741"/>
                  </a:lnTo>
                  <a:lnTo>
                    <a:pt x="2458" y="1179"/>
                  </a:lnTo>
                  <a:lnTo>
                    <a:pt x="2458" y="1212"/>
                  </a:lnTo>
                  <a:lnTo>
                    <a:pt x="2593" y="1212"/>
                  </a:lnTo>
                  <a:lnTo>
                    <a:pt x="2593" y="707"/>
                  </a:lnTo>
                  <a:lnTo>
                    <a:pt x="2593" y="438"/>
                  </a:lnTo>
                  <a:lnTo>
                    <a:pt x="2559" y="337"/>
                  </a:lnTo>
                  <a:lnTo>
                    <a:pt x="2492" y="236"/>
                  </a:lnTo>
                  <a:lnTo>
                    <a:pt x="2424" y="135"/>
                  </a:lnTo>
                  <a:lnTo>
                    <a:pt x="2323" y="68"/>
                  </a:lnTo>
                  <a:lnTo>
                    <a:pt x="2222" y="34"/>
                  </a:lnTo>
                  <a:lnTo>
                    <a:pt x="2121"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21" name="Google Shape;1821;p12"/>
            <p:cNvSpPr/>
            <p:nvPr/>
          </p:nvSpPr>
          <p:spPr>
            <a:xfrm>
              <a:off x="2424160" y="5041030"/>
              <a:ext cx="26870" cy="6718"/>
            </a:xfrm>
            <a:custGeom>
              <a:avLst/>
              <a:gdLst/>
              <a:ahLst/>
              <a:cxnLst/>
              <a:rect l="l" t="t" r="r" b="b"/>
              <a:pathLst>
                <a:path w="540" h="135" extrusionOk="0">
                  <a:moveTo>
                    <a:pt x="270" y="0"/>
                  </a:moveTo>
                  <a:lnTo>
                    <a:pt x="135" y="34"/>
                  </a:lnTo>
                  <a:lnTo>
                    <a:pt x="68" y="68"/>
                  </a:lnTo>
                  <a:lnTo>
                    <a:pt x="1" y="68"/>
                  </a:lnTo>
                  <a:lnTo>
                    <a:pt x="1" y="101"/>
                  </a:lnTo>
                  <a:lnTo>
                    <a:pt x="34" y="135"/>
                  </a:lnTo>
                  <a:lnTo>
                    <a:pt x="236" y="135"/>
                  </a:lnTo>
                  <a:lnTo>
                    <a:pt x="472" y="101"/>
                  </a:lnTo>
                  <a:lnTo>
                    <a:pt x="506" y="68"/>
                  </a:lnTo>
                  <a:lnTo>
                    <a:pt x="539" y="68"/>
                  </a:lnTo>
                  <a:lnTo>
                    <a:pt x="506"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22" name="Google Shape;1822;p12"/>
            <p:cNvSpPr/>
            <p:nvPr/>
          </p:nvSpPr>
          <p:spPr>
            <a:xfrm>
              <a:off x="3826397" y="4948875"/>
              <a:ext cx="129077" cy="127386"/>
            </a:xfrm>
            <a:custGeom>
              <a:avLst/>
              <a:gdLst/>
              <a:ahLst/>
              <a:cxnLst/>
              <a:rect l="l" t="t" r="r" b="b"/>
              <a:pathLst>
                <a:path w="2594" h="2560" extrusionOk="0">
                  <a:moveTo>
                    <a:pt x="2290" y="101"/>
                  </a:moveTo>
                  <a:lnTo>
                    <a:pt x="2425" y="135"/>
                  </a:lnTo>
                  <a:lnTo>
                    <a:pt x="2459" y="169"/>
                  </a:lnTo>
                  <a:lnTo>
                    <a:pt x="2492" y="808"/>
                  </a:lnTo>
                  <a:lnTo>
                    <a:pt x="2492" y="1448"/>
                  </a:lnTo>
                  <a:lnTo>
                    <a:pt x="2459" y="1751"/>
                  </a:lnTo>
                  <a:lnTo>
                    <a:pt x="2425" y="2054"/>
                  </a:lnTo>
                  <a:lnTo>
                    <a:pt x="2358" y="2189"/>
                  </a:lnTo>
                  <a:lnTo>
                    <a:pt x="2290" y="2290"/>
                  </a:lnTo>
                  <a:lnTo>
                    <a:pt x="2189" y="2391"/>
                  </a:lnTo>
                  <a:lnTo>
                    <a:pt x="2055" y="2425"/>
                  </a:lnTo>
                  <a:lnTo>
                    <a:pt x="1550" y="2425"/>
                  </a:lnTo>
                  <a:lnTo>
                    <a:pt x="1045" y="2391"/>
                  </a:lnTo>
                  <a:lnTo>
                    <a:pt x="741" y="2391"/>
                  </a:lnTo>
                  <a:lnTo>
                    <a:pt x="573" y="2357"/>
                  </a:lnTo>
                  <a:lnTo>
                    <a:pt x="438" y="2324"/>
                  </a:lnTo>
                  <a:lnTo>
                    <a:pt x="337" y="2256"/>
                  </a:lnTo>
                  <a:lnTo>
                    <a:pt x="236" y="2189"/>
                  </a:lnTo>
                  <a:lnTo>
                    <a:pt x="169" y="2054"/>
                  </a:lnTo>
                  <a:lnTo>
                    <a:pt x="135" y="1886"/>
                  </a:lnTo>
                  <a:lnTo>
                    <a:pt x="135" y="1684"/>
                  </a:lnTo>
                  <a:lnTo>
                    <a:pt x="169" y="1482"/>
                  </a:lnTo>
                  <a:lnTo>
                    <a:pt x="203" y="1111"/>
                  </a:lnTo>
                  <a:lnTo>
                    <a:pt x="203" y="876"/>
                  </a:lnTo>
                  <a:lnTo>
                    <a:pt x="169" y="640"/>
                  </a:lnTo>
                  <a:lnTo>
                    <a:pt x="169" y="404"/>
                  </a:lnTo>
                  <a:lnTo>
                    <a:pt x="169" y="169"/>
                  </a:lnTo>
                  <a:lnTo>
                    <a:pt x="1314" y="135"/>
                  </a:lnTo>
                  <a:lnTo>
                    <a:pt x="1954" y="101"/>
                  </a:lnTo>
                  <a:close/>
                  <a:moveTo>
                    <a:pt x="1348" y="0"/>
                  </a:moveTo>
                  <a:lnTo>
                    <a:pt x="169" y="34"/>
                  </a:lnTo>
                  <a:lnTo>
                    <a:pt x="135" y="68"/>
                  </a:lnTo>
                  <a:lnTo>
                    <a:pt x="102" y="68"/>
                  </a:lnTo>
                  <a:lnTo>
                    <a:pt x="34" y="270"/>
                  </a:lnTo>
                  <a:lnTo>
                    <a:pt x="34" y="472"/>
                  </a:lnTo>
                  <a:lnTo>
                    <a:pt x="68" y="909"/>
                  </a:lnTo>
                  <a:lnTo>
                    <a:pt x="68" y="1145"/>
                  </a:lnTo>
                  <a:lnTo>
                    <a:pt x="68" y="1347"/>
                  </a:lnTo>
                  <a:lnTo>
                    <a:pt x="1" y="1819"/>
                  </a:lnTo>
                  <a:lnTo>
                    <a:pt x="34" y="2021"/>
                  </a:lnTo>
                  <a:lnTo>
                    <a:pt x="68" y="2189"/>
                  </a:lnTo>
                  <a:lnTo>
                    <a:pt x="169" y="2290"/>
                  </a:lnTo>
                  <a:lnTo>
                    <a:pt x="270" y="2391"/>
                  </a:lnTo>
                  <a:lnTo>
                    <a:pt x="405" y="2458"/>
                  </a:lnTo>
                  <a:lnTo>
                    <a:pt x="573" y="2492"/>
                  </a:lnTo>
                  <a:lnTo>
                    <a:pt x="944" y="2526"/>
                  </a:lnTo>
                  <a:lnTo>
                    <a:pt x="1482" y="2559"/>
                  </a:lnTo>
                  <a:lnTo>
                    <a:pt x="2055" y="2559"/>
                  </a:lnTo>
                  <a:lnTo>
                    <a:pt x="2189" y="2526"/>
                  </a:lnTo>
                  <a:lnTo>
                    <a:pt x="2324" y="2492"/>
                  </a:lnTo>
                  <a:lnTo>
                    <a:pt x="2459" y="2425"/>
                  </a:lnTo>
                  <a:lnTo>
                    <a:pt x="2492" y="2357"/>
                  </a:lnTo>
                  <a:lnTo>
                    <a:pt x="2526" y="2324"/>
                  </a:lnTo>
                  <a:lnTo>
                    <a:pt x="2560" y="2021"/>
                  </a:lnTo>
                  <a:lnTo>
                    <a:pt x="2593" y="1751"/>
                  </a:lnTo>
                  <a:lnTo>
                    <a:pt x="2593" y="1179"/>
                  </a:lnTo>
                  <a:lnTo>
                    <a:pt x="2560" y="606"/>
                  </a:lnTo>
                  <a:lnTo>
                    <a:pt x="2560" y="34"/>
                  </a:lnTo>
                  <a:lnTo>
                    <a:pt x="2560"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23" name="Google Shape;1823;p12"/>
            <p:cNvSpPr/>
            <p:nvPr/>
          </p:nvSpPr>
          <p:spPr>
            <a:xfrm>
              <a:off x="2375595" y="4948875"/>
              <a:ext cx="125694" cy="125694"/>
            </a:xfrm>
            <a:custGeom>
              <a:avLst/>
              <a:gdLst/>
              <a:ahLst/>
              <a:cxnLst/>
              <a:rect l="l" t="t" r="r" b="b"/>
              <a:pathLst>
                <a:path w="2526" h="2526" extrusionOk="0">
                  <a:moveTo>
                    <a:pt x="2323" y="135"/>
                  </a:moveTo>
                  <a:lnTo>
                    <a:pt x="2323" y="606"/>
                  </a:lnTo>
                  <a:lnTo>
                    <a:pt x="2290" y="1078"/>
                  </a:lnTo>
                  <a:lnTo>
                    <a:pt x="2323" y="1381"/>
                  </a:lnTo>
                  <a:lnTo>
                    <a:pt x="2357" y="1684"/>
                  </a:lnTo>
                  <a:lnTo>
                    <a:pt x="2391" y="1852"/>
                  </a:lnTo>
                  <a:lnTo>
                    <a:pt x="2391" y="2054"/>
                  </a:lnTo>
                  <a:lnTo>
                    <a:pt x="2357" y="2223"/>
                  </a:lnTo>
                  <a:lnTo>
                    <a:pt x="2290" y="2290"/>
                  </a:lnTo>
                  <a:lnTo>
                    <a:pt x="2222" y="2324"/>
                  </a:lnTo>
                  <a:lnTo>
                    <a:pt x="2054" y="2357"/>
                  </a:lnTo>
                  <a:lnTo>
                    <a:pt x="1886" y="2391"/>
                  </a:lnTo>
                  <a:lnTo>
                    <a:pt x="1010" y="2391"/>
                  </a:lnTo>
                  <a:lnTo>
                    <a:pt x="775" y="2357"/>
                  </a:lnTo>
                  <a:lnTo>
                    <a:pt x="539" y="2324"/>
                  </a:lnTo>
                  <a:lnTo>
                    <a:pt x="236" y="2324"/>
                  </a:lnTo>
                  <a:lnTo>
                    <a:pt x="202" y="2290"/>
                  </a:lnTo>
                  <a:lnTo>
                    <a:pt x="169" y="2256"/>
                  </a:lnTo>
                  <a:lnTo>
                    <a:pt x="135" y="2088"/>
                  </a:lnTo>
                  <a:lnTo>
                    <a:pt x="135" y="1617"/>
                  </a:lnTo>
                  <a:lnTo>
                    <a:pt x="202" y="1145"/>
                  </a:lnTo>
                  <a:lnTo>
                    <a:pt x="202" y="640"/>
                  </a:lnTo>
                  <a:lnTo>
                    <a:pt x="169" y="438"/>
                  </a:lnTo>
                  <a:lnTo>
                    <a:pt x="135" y="202"/>
                  </a:lnTo>
                  <a:lnTo>
                    <a:pt x="674" y="169"/>
                  </a:lnTo>
                  <a:lnTo>
                    <a:pt x="1212" y="202"/>
                  </a:lnTo>
                  <a:lnTo>
                    <a:pt x="1785" y="169"/>
                  </a:lnTo>
                  <a:lnTo>
                    <a:pt x="2323" y="135"/>
                  </a:lnTo>
                  <a:close/>
                  <a:moveTo>
                    <a:pt x="2357" y="0"/>
                  </a:moveTo>
                  <a:lnTo>
                    <a:pt x="2088" y="34"/>
                  </a:lnTo>
                  <a:lnTo>
                    <a:pt x="1785" y="68"/>
                  </a:lnTo>
                  <a:lnTo>
                    <a:pt x="1212" y="68"/>
                  </a:lnTo>
                  <a:lnTo>
                    <a:pt x="640" y="34"/>
                  </a:lnTo>
                  <a:lnTo>
                    <a:pt x="68" y="68"/>
                  </a:lnTo>
                  <a:lnTo>
                    <a:pt x="0" y="101"/>
                  </a:lnTo>
                  <a:lnTo>
                    <a:pt x="0" y="135"/>
                  </a:lnTo>
                  <a:lnTo>
                    <a:pt x="0" y="202"/>
                  </a:lnTo>
                  <a:lnTo>
                    <a:pt x="68" y="202"/>
                  </a:lnTo>
                  <a:lnTo>
                    <a:pt x="34" y="741"/>
                  </a:lnTo>
                  <a:lnTo>
                    <a:pt x="34" y="1280"/>
                  </a:lnTo>
                  <a:lnTo>
                    <a:pt x="0" y="1852"/>
                  </a:lnTo>
                  <a:lnTo>
                    <a:pt x="0" y="2122"/>
                  </a:lnTo>
                  <a:lnTo>
                    <a:pt x="34" y="2391"/>
                  </a:lnTo>
                  <a:lnTo>
                    <a:pt x="34" y="2458"/>
                  </a:lnTo>
                  <a:lnTo>
                    <a:pt x="438" y="2458"/>
                  </a:lnTo>
                  <a:lnTo>
                    <a:pt x="775" y="2492"/>
                  </a:lnTo>
                  <a:lnTo>
                    <a:pt x="1448" y="2526"/>
                  </a:lnTo>
                  <a:lnTo>
                    <a:pt x="1953" y="2526"/>
                  </a:lnTo>
                  <a:lnTo>
                    <a:pt x="2189" y="2492"/>
                  </a:lnTo>
                  <a:lnTo>
                    <a:pt x="2290" y="2458"/>
                  </a:lnTo>
                  <a:lnTo>
                    <a:pt x="2391" y="2391"/>
                  </a:lnTo>
                  <a:lnTo>
                    <a:pt x="2458" y="2324"/>
                  </a:lnTo>
                  <a:lnTo>
                    <a:pt x="2492" y="2223"/>
                  </a:lnTo>
                  <a:lnTo>
                    <a:pt x="2525" y="2021"/>
                  </a:lnTo>
                  <a:lnTo>
                    <a:pt x="2525" y="1819"/>
                  </a:lnTo>
                  <a:lnTo>
                    <a:pt x="2492" y="1617"/>
                  </a:lnTo>
                  <a:lnTo>
                    <a:pt x="2458" y="1347"/>
                  </a:lnTo>
                  <a:lnTo>
                    <a:pt x="2424" y="1078"/>
                  </a:lnTo>
                  <a:lnTo>
                    <a:pt x="2458" y="573"/>
                  </a:lnTo>
                  <a:lnTo>
                    <a:pt x="2458" y="337"/>
                  </a:lnTo>
                  <a:lnTo>
                    <a:pt x="2458" y="68"/>
                  </a:lnTo>
                  <a:lnTo>
                    <a:pt x="2424" y="34"/>
                  </a:lnTo>
                  <a:lnTo>
                    <a:pt x="2357"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24" name="Google Shape;1824;p12"/>
            <p:cNvSpPr/>
            <p:nvPr/>
          </p:nvSpPr>
          <p:spPr>
            <a:xfrm>
              <a:off x="3684034" y="4945541"/>
              <a:ext cx="129028" cy="129028"/>
            </a:xfrm>
            <a:custGeom>
              <a:avLst/>
              <a:gdLst/>
              <a:ahLst/>
              <a:cxnLst/>
              <a:rect l="l" t="t" r="r" b="b"/>
              <a:pathLst>
                <a:path w="2593" h="2593" extrusionOk="0">
                  <a:moveTo>
                    <a:pt x="606" y="101"/>
                  </a:moveTo>
                  <a:lnTo>
                    <a:pt x="1111" y="135"/>
                  </a:lnTo>
                  <a:lnTo>
                    <a:pt x="1616" y="168"/>
                  </a:lnTo>
                  <a:lnTo>
                    <a:pt x="2121" y="202"/>
                  </a:lnTo>
                  <a:lnTo>
                    <a:pt x="2256" y="236"/>
                  </a:lnTo>
                  <a:lnTo>
                    <a:pt x="2357" y="269"/>
                  </a:lnTo>
                  <a:lnTo>
                    <a:pt x="2390" y="370"/>
                  </a:lnTo>
                  <a:lnTo>
                    <a:pt x="2424" y="471"/>
                  </a:lnTo>
                  <a:lnTo>
                    <a:pt x="2458" y="707"/>
                  </a:lnTo>
                  <a:lnTo>
                    <a:pt x="2458" y="943"/>
                  </a:lnTo>
                  <a:lnTo>
                    <a:pt x="2424" y="1482"/>
                  </a:lnTo>
                  <a:lnTo>
                    <a:pt x="2390" y="2020"/>
                  </a:lnTo>
                  <a:lnTo>
                    <a:pt x="2357" y="2189"/>
                  </a:lnTo>
                  <a:lnTo>
                    <a:pt x="2289" y="2290"/>
                  </a:lnTo>
                  <a:lnTo>
                    <a:pt x="2188" y="2391"/>
                  </a:lnTo>
                  <a:lnTo>
                    <a:pt x="2087" y="2424"/>
                  </a:lnTo>
                  <a:lnTo>
                    <a:pt x="1953" y="2458"/>
                  </a:lnTo>
                  <a:lnTo>
                    <a:pt x="1818" y="2458"/>
                  </a:lnTo>
                  <a:lnTo>
                    <a:pt x="1549" y="2424"/>
                  </a:lnTo>
                  <a:lnTo>
                    <a:pt x="943" y="2391"/>
                  </a:lnTo>
                  <a:lnTo>
                    <a:pt x="539" y="2357"/>
                  </a:lnTo>
                  <a:lnTo>
                    <a:pt x="337" y="2323"/>
                  </a:lnTo>
                  <a:lnTo>
                    <a:pt x="236" y="2256"/>
                  </a:lnTo>
                  <a:lnTo>
                    <a:pt x="202" y="2189"/>
                  </a:lnTo>
                  <a:lnTo>
                    <a:pt x="135" y="1953"/>
                  </a:lnTo>
                  <a:lnTo>
                    <a:pt x="101" y="1717"/>
                  </a:lnTo>
                  <a:lnTo>
                    <a:pt x="101" y="1212"/>
                  </a:lnTo>
                  <a:lnTo>
                    <a:pt x="135" y="707"/>
                  </a:lnTo>
                  <a:lnTo>
                    <a:pt x="135" y="202"/>
                  </a:lnTo>
                  <a:lnTo>
                    <a:pt x="370" y="135"/>
                  </a:lnTo>
                  <a:lnTo>
                    <a:pt x="606" y="101"/>
                  </a:lnTo>
                  <a:close/>
                  <a:moveTo>
                    <a:pt x="438" y="0"/>
                  </a:moveTo>
                  <a:lnTo>
                    <a:pt x="67" y="67"/>
                  </a:lnTo>
                  <a:lnTo>
                    <a:pt x="34" y="101"/>
                  </a:lnTo>
                  <a:lnTo>
                    <a:pt x="34" y="135"/>
                  </a:lnTo>
                  <a:lnTo>
                    <a:pt x="34" y="168"/>
                  </a:lnTo>
                  <a:lnTo>
                    <a:pt x="0" y="842"/>
                  </a:lnTo>
                  <a:lnTo>
                    <a:pt x="0" y="1515"/>
                  </a:lnTo>
                  <a:lnTo>
                    <a:pt x="0" y="1717"/>
                  </a:lnTo>
                  <a:lnTo>
                    <a:pt x="0" y="1987"/>
                  </a:lnTo>
                  <a:lnTo>
                    <a:pt x="34" y="2121"/>
                  </a:lnTo>
                  <a:lnTo>
                    <a:pt x="67" y="2256"/>
                  </a:lnTo>
                  <a:lnTo>
                    <a:pt x="135" y="2357"/>
                  </a:lnTo>
                  <a:lnTo>
                    <a:pt x="236" y="2424"/>
                  </a:lnTo>
                  <a:lnTo>
                    <a:pt x="337" y="2458"/>
                  </a:lnTo>
                  <a:lnTo>
                    <a:pt x="438" y="2492"/>
                  </a:lnTo>
                  <a:lnTo>
                    <a:pt x="673" y="2492"/>
                  </a:lnTo>
                  <a:lnTo>
                    <a:pt x="1178" y="2559"/>
                  </a:lnTo>
                  <a:lnTo>
                    <a:pt x="1650" y="2559"/>
                  </a:lnTo>
                  <a:lnTo>
                    <a:pt x="1885" y="2593"/>
                  </a:lnTo>
                  <a:lnTo>
                    <a:pt x="2121" y="2559"/>
                  </a:lnTo>
                  <a:lnTo>
                    <a:pt x="2222" y="2525"/>
                  </a:lnTo>
                  <a:lnTo>
                    <a:pt x="2323" y="2492"/>
                  </a:lnTo>
                  <a:lnTo>
                    <a:pt x="2390" y="2391"/>
                  </a:lnTo>
                  <a:lnTo>
                    <a:pt x="2458" y="2290"/>
                  </a:lnTo>
                  <a:lnTo>
                    <a:pt x="2525" y="1987"/>
                  </a:lnTo>
                  <a:lnTo>
                    <a:pt x="2559" y="1684"/>
                  </a:lnTo>
                  <a:lnTo>
                    <a:pt x="2559" y="1044"/>
                  </a:lnTo>
                  <a:lnTo>
                    <a:pt x="2592" y="572"/>
                  </a:lnTo>
                  <a:lnTo>
                    <a:pt x="2559" y="370"/>
                  </a:lnTo>
                  <a:lnTo>
                    <a:pt x="2525" y="236"/>
                  </a:lnTo>
                  <a:lnTo>
                    <a:pt x="2458" y="168"/>
                  </a:lnTo>
                  <a:lnTo>
                    <a:pt x="2357" y="101"/>
                  </a:lnTo>
                  <a:lnTo>
                    <a:pt x="2256" y="67"/>
                  </a:lnTo>
                  <a:lnTo>
                    <a:pt x="1986" y="34"/>
                  </a:lnTo>
                  <a:lnTo>
                    <a:pt x="1481" y="34"/>
                  </a:lnTo>
                  <a:lnTo>
                    <a:pt x="774"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25" name="Google Shape;1825;p12"/>
            <p:cNvSpPr/>
            <p:nvPr/>
          </p:nvSpPr>
          <p:spPr>
            <a:xfrm>
              <a:off x="3735934" y="5022569"/>
              <a:ext cx="25179" cy="31896"/>
            </a:xfrm>
            <a:custGeom>
              <a:avLst/>
              <a:gdLst/>
              <a:ahLst/>
              <a:cxnLst/>
              <a:rect l="l" t="t" r="r" b="b"/>
              <a:pathLst>
                <a:path w="506" h="641" extrusionOk="0">
                  <a:moveTo>
                    <a:pt x="270" y="136"/>
                  </a:moveTo>
                  <a:lnTo>
                    <a:pt x="371" y="169"/>
                  </a:lnTo>
                  <a:lnTo>
                    <a:pt x="304" y="237"/>
                  </a:lnTo>
                  <a:lnTo>
                    <a:pt x="270" y="270"/>
                  </a:lnTo>
                  <a:lnTo>
                    <a:pt x="169" y="270"/>
                  </a:lnTo>
                  <a:lnTo>
                    <a:pt x="135" y="203"/>
                  </a:lnTo>
                  <a:lnTo>
                    <a:pt x="135" y="136"/>
                  </a:lnTo>
                  <a:close/>
                  <a:moveTo>
                    <a:pt x="203" y="1"/>
                  </a:moveTo>
                  <a:lnTo>
                    <a:pt x="135" y="35"/>
                  </a:lnTo>
                  <a:lnTo>
                    <a:pt x="68" y="68"/>
                  </a:lnTo>
                  <a:lnTo>
                    <a:pt x="34" y="102"/>
                  </a:lnTo>
                  <a:lnTo>
                    <a:pt x="1" y="169"/>
                  </a:lnTo>
                  <a:lnTo>
                    <a:pt x="1" y="237"/>
                  </a:lnTo>
                  <a:lnTo>
                    <a:pt x="68" y="338"/>
                  </a:lnTo>
                  <a:lnTo>
                    <a:pt x="203" y="405"/>
                  </a:lnTo>
                  <a:lnTo>
                    <a:pt x="304" y="405"/>
                  </a:lnTo>
                  <a:lnTo>
                    <a:pt x="270" y="439"/>
                  </a:lnTo>
                  <a:lnTo>
                    <a:pt x="236" y="506"/>
                  </a:lnTo>
                  <a:lnTo>
                    <a:pt x="203" y="472"/>
                  </a:lnTo>
                  <a:lnTo>
                    <a:pt x="135" y="472"/>
                  </a:lnTo>
                  <a:lnTo>
                    <a:pt x="135" y="573"/>
                  </a:lnTo>
                  <a:lnTo>
                    <a:pt x="169" y="641"/>
                  </a:lnTo>
                  <a:lnTo>
                    <a:pt x="236" y="641"/>
                  </a:lnTo>
                  <a:lnTo>
                    <a:pt x="304" y="607"/>
                  </a:lnTo>
                  <a:lnTo>
                    <a:pt x="371" y="540"/>
                  </a:lnTo>
                  <a:lnTo>
                    <a:pt x="438" y="439"/>
                  </a:lnTo>
                  <a:lnTo>
                    <a:pt x="472" y="304"/>
                  </a:lnTo>
                  <a:lnTo>
                    <a:pt x="506" y="203"/>
                  </a:lnTo>
                  <a:lnTo>
                    <a:pt x="472" y="169"/>
                  </a:lnTo>
                  <a:lnTo>
                    <a:pt x="405" y="136"/>
                  </a:lnTo>
                  <a:lnTo>
                    <a:pt x="371" y="68"/>
                  </a:lnTo>
                  <a:lnTo>
                    <a:pt x="304" y="35"/>
                  </a:lnTo>
                  <a:lnTo>
                    <a:pt x="203"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26" name="Google Shape;1826;p12"/>
            <p:cNvSpPr/>
            <p:nvPr/>
          </p:nvSpPr>
          <p:spPr>
            <a:xfrm>
              <a:off x="2422469" y="5014210"/>
              <a:ext cx="25179" cy="20153"/>
            </a:xfrm>
            <a:custGeom>
              <a:avLst/>
              <a:gdLst/>
              <a:ahLst/>
              <a:cxnLst/>
              <a:rect l="l" t="t" r="r" b="b"/>
              <a:pathLst>
                <a:path w="506" h="405" extrusionOk="0">
                  <a:moveTo>
                    <a:pt x="203" y="102"/>
                  </a:moveTo>
                  <a:lnTo>
                    <a:pt x="203" y="135"/>
                  </a:lnTo>
                  <a:lnTo>
                    <a:pt x="237" y="169"/>
                  </a:lnTo>
                  <a:lnTo>
                    <a:pt x="338" y="135"/>
                  </a:lnTo>
                  <a:lnTo>
                    <a:pt x="203" y="270"/>
                  </a:lnTo>
                  <a:lnTo>
                    <a:pt x="136" y="304"/>
                  </a:lnTo>
                  <a:lnTo>
                    <a:pt x="102" y="304"/>
                  </a:lnTo>
                  <a:lnTo>
                    <a:pt x="136" y="203"/>
                  </a:lnTo>
                  <a:lnTo>
                    <a:pt x="169" y="135"/>
                  </a:lnTo>
                  <a:lnTo>
                    <a:pt x="203" y="102"/>
                  </a:lnTo>
                  <a:close/>
                  <a:moveTo>
                    <a:pt x="169" y="1"/>
                  </a:moveTo>
                  <a:lnTo>
                    <a:pt x="102" y="68"/>
                  </a:lnTo>
                  <a:lnTo>
                    <a:pt x="35" y="102"/>
                  </a:lnTo>
                  <a:lnTo>
                    <a:pt x="1" y="270"/>
                  </a:lnTo>
                  <a:lnTo>
                    <a:pt x="1" y="371"/>
                  </a:lnTo>
                  <a:lnTo>
                    <a:pt x="68" y="405"/>
                  </a:lnTo>
                  <a:lnTo>
                    <a:pt x="237" y="405"/>
                  </a:lnTo>
                  <a:lnTo>
                    <a:pt x="371" y="304"/>
                  </a:lnTo>
                  <a:lnTo>
                    <a:pt x="439" y="236"/>
                  </a:lnTo>
                  <a:lnTo>
                    <a:pt x="506" y="169"/>
                  </a:lnTo>
                  <a:lnTo>
                    <a:pt x="506" y="102"/>
                  </a:lnTo>
                  <a:lnTo>
                    <a:pt x="472" y="34"/>
                  </a:lnTo>
                  <a:lnTo>
                    <a:pt x="439" y="34"/>
                  </a:lnTo>
                  <a:lnTo>
                    <a:pt x="371"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27" name="Google Shape;1827;p12"/>
            <p:cNvSpPr/>
            <p:nvPr/>
          </p:nvSpPr>
          <p:spPr>
            <a:xfrm>
              <a:off x="3898450" y="5089596"/>
              <a:ext cx="134053" cy="57025"/>
            </a:xfrm>
            <a:custGeom>
              <a:avLst/>
              <a:gdLst/>
              <a:ahLst/>
              <a:cxnLst/>
              <a:rect l="l" t="t" r="r" b="b"/>
              <a:pathLst>
                <a:path w="2694" h="1146" extrusionOk="0">
                  <a:moveTo>
                    <a:pt x="1549" y="1"/>
                  </a:moveTo>
                  <a:lnTo>
                    <a:pt x="1112" y="34"/>
                  </a:lnTo>
                  <a:lnTo>
                    <a:pt x="337" y="34"/>
                  </a:lnTo>
                  <a:lnTo>
                    <a:pt x="102" y="68"/>
                  </a:lnTo>
                  <a:lnTo>
                    <a:pt x="34" y="102"/>
                  </a:lnTo>
                  <a:lnTo>
                    <a:pt x="34" y="169"/>
                  </a:lnTo>
                  <a:lnTo>
                    <a:pt x="1" y="304"/>
                  </a:lnTo>
                  <a:lnTo>
                    <a:pt x="1" y="438"/>
                  </a:lnTo>
                  <a:lnTo>
                    <a:pt x="1" y="741"/>
                  </a:lnTo>
                  <a:lnTo>
                    <a:pt x="1" y="1145"/>
                  </a:lnTo>
                  <a:lnTo>
                    <a:pt x="135" y="1145"/>
                  </a:lnTo>
                  <a:lnTo>
                    <a:pt x="135" y="741"/>
                  </a:lnTo>
                  <a:lnTo>
                    <a:pt x="135" y="337"/>
                  </a:lnTo>
                  <a:lnTo>
                    <a:pt x="135" y="203"/>
                  </a:lnTo>
                  <a:lnTo>
                    <a:pt x="506" y="169"/>
                  </a:lnTo>
                  <a:lnTo>
                    <a:pt x="876" y="135"/>
                  </a:lnTo>
                  <a:lnTo>
                    <a:pt x="1246" y="169"/>
                  </a:lnTo>
                  <a:lnTo>
                    <a:pt x="1583" y="135"/>
                  </a:lnTo>
                  <a:lnTo>
                    <a:pt x="1953" y="135"/>
                  </a:lnTo>
                  <a:lnTo>
                    <a:pt x="2155" y="169"/>
                  </a:lnTo>
                  <a:lnTo>
                    <a:pt x="2324" y="203"/>
                  </a:lnTo>
                  <a:lnTo>
                    <a:pt x="2425" y="236"/>
                  </a:lnTo>
                  <a:lnTo>
                    <a:pt x="2492" y="304"/>
                  </a:lnTo>
                  <a:lnTo>
                    <a:pt x="2526" y="405"/>
                  </a:lnTo>
                  <a:lnTo>
                    <a:pt x="2559" y="506"/>
                  </a:lnTo>
                  <a:lnTo>
                    <a:pt x="2559" y="741"/>
                  </a:lnTo>
                  <a:lnTo>
                    <a:pt x="2559" y="943"/>
                  </a:lnTo>
                  <a:lnTo>
                    <a:pt x="2526" y="1145"/>
                  </a:lnTo>
                  <a:lnTo>
                    <a:pt x="2660" y="1145"/>
                  </a:lnTo>
                  <a:lnTo>
                    <a:pt x="2694" y="876"/>
                  </a:lnTo>
                  <a:lnTo>
                    <a:pt x="2694" y="539"/>
                  </a:lnTo>
                  <a:lnTo>
                    <a:pt x="2660" y="337"/>
                  </a:lnTo>
                  <a:lnTo>
                    <a:pt x="2593" y="203"/>
                  </a:lnTo>
                  <a:lnTo>
                    <a:pt x="2458" y="102"/>
                  </a:lnTo>
                  <a:lnTo>
                    <a:pt x="2324" y="68"/>
                  </a:lnTo>
                  <a:lnTo>
                    <a:pt x="2155" y="34"/>
                  </a:lnTo>
                  <a:lnTo>
                    <a:pt x="1987"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28" name="Google Shape;1828;p12"/>
            <p:cNvSpPr/>
            <p:nvPr/>
          </p:nvSpPr>
          <p:spPr>
            <a:xfrm>
              <a:off x="2714012" y="5019235"/>
              <a:ext cx="28512" cy="31896"/>
            </a:xfrm>
            <a:custGeom>
              <a:avLst/>
              <a:gdLst/>
              <a:ahLst/>
              <a:cxnLst/>
              <a:rect l="l" t="t" r="r" b="b"/>
              <a:pathLst>
                <a:path w="573" h="641" extrusionOk="0">
                  <a:moveTo>
                    <a:pt x="303" y="1"/>
                  </a:moveTo>
                  <a:lnTo>
                    <a:pt x="169" y="68"/>
                  </a:lnTo>
                  <a:lnTo>
                    <a:pt x="68" y="169"/>
                  </a:lnTo>
                  <a:lnTo>
                    <a:pt x="68" y="203"/>
                  </a:lnTo>
                  <a:lnTo>
                    <a:pt x="68" y="236"/>
                  </a:lnTo>
                  <a:lnTo>
                    <a:pt x="135" y="236"/>
                  </a:lnTo>
                  <a:lnTo>
                    <a:pt x="270" y="135"/>
                  </a:lnTo>
                  <a:lnTo>
                    <a:pt x="371" y="102"/>
                  </a:lnTo>
                  <a:lnTo>
                    <a:pt x="438" y="135"/>
                  </a:lnTo>
                  <a:lnTo>
                    <a:pt x="202" y="337"/>
                  </a:lnTo>
                  <a:lnTo>
                    <a:pt x="34" y="506"/>
                  </a:lnTo>
                  <a:lnTo>
                    <a:pt x="0" y="539"/>
                  </a:lnTo>
                  <a:lnTo>
                    <a:pt x="0" y="607"/>
                  </a:lnTo>
                  <a:lnTo>
                    <a:pt x="34" y="607"/>
                  </a:lnTo>
                  <a:lnTo>
                    <a:pt x="101" y="640"/>
                  </a:lnTo>
                  <a:lnTo>
                    <a:pt x="404" y="573"/>
                  </a:lnTo>
                  <a:lnTo>
                    <a:pt x="539" y="573"/>
                  </a:lnTo>
                  <a:lnTo>
                    <a:pt x="573" y="539"/>
                  </a:lnTo>
                  <a:lnTo>
                    <a:pt x="573" y="472"/>
                  </a:lnTo>
                  <a:lnTo>
                    <a:pt x="539" y="438"/>
                  </a:lnTo>
                  <a:lnTo>
                    <a:pt x="404" y="438"/>
                  </a:lnTo>
                  <a:lnTo>
                    <a:pt x="270" y="472"/>
                  </a:lnTo>
                  <a:lnTo>
                    <a:pt x="539" y="203"/>
                  </a:lnTo>
                  <a:lnTo>
                    <a:pt x="573" y="169"/>
                  </a:lnTo>
                  <a:lnTo>
                    <a:pt x="573" y="135"/>
                  </a:lnTo>
                  <a:lnTo>
                    <a:pt x="539" y="68"/>
                  </a:lnTo>
                  <a:lnTo>
                    <a:pt x="472"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29" name="Google Shape;1829;p12"/>
            <p:cNvSpPr/>
            <p:nvPr/>
          </p:nvSpPr>
          <p:spPr>
            <a:xfrm>
              <a:off x="2978686" y="4853385"/>
              <a:ext cx="132411" cy="82154"/>
            </a:xfrm>
            <a:custGeom>
              <a:avLst/>
              <a:gdLst/>
              <a:ahLst/>
              <a:cxnLst/>
              <a:rect l="l" t="t" r="r" b="b"/>
              <a:pathLst>
                <a:path w="2661" h="1651" extrusionOk="0">
                  <a:moveTo>
                    <a:pt x="943" y="135"/>
                  </a:moveTo>
                  <a:lnTo>
                    <a:pt x="1954" y="169"/>
                  </a:lnTo>
                  <a:lnTo>
                    <a:pt x="2257" y="169"/>
                  </a:lnTo>
                  <a:lnTo>
                    <a:pt x="2358" y="202"/>
                  </a:lnTo>
                  <a:lnTo>
                    <a:pt x="2425" y="236"/>
                  </a:lnTo>
                  <a:lnTo>
                    <a:pt x="2459" y="303"/>
                  </a:lnTo>
                  <a:lnTo>
                    <a:pt x="2459" y="438"/>
                  </a:lnTo>
                  <a:lnTo>
                    <a:pt x="2459" y="573"/>
                  </a:lnTo>
                  <a:lnTo>
                    <a:pt x="2425" y="808"/>
                  </a:lnTo>
                  <a:lnTo>
                    <a:pt x="2425" y="1111"/>
                  </a:lnTo>
                  <a:lnTo>
                    <a:pt x="2459" y="1246"/>
                  </a:lnTo>
                  <a:lnTo>
                    <a:pt x="2492" y="1381"/>
                  </a:lnTo>
                  <a:lnTo>
                    <a:pt x="2021" y="1414"/>
                  </a:lnTo>
                  <a:lnTo>
                    <a:pt x="1516" y="1414"/>
                  </a:lnTo>
                  <a:lnTo>
                    <a:pt x="1112" y="1448"/>
                  </a:lnTo>
                  <a:lnTo>
                    <a:pt x="674" y="1515"/>
                  </a:lnTo>
                  <a:lnTo>
                    <a:pt x="438" y="1482"/>
                  </a:lnTo>
                  <a:lnTo>
                    <a:pt x="203" y="1414"/>
                  </a:lnTo>
                  <a:lnTo>
                    <a:pt x="169" y="1381"/>
                  </a:lnTo>
                  <a:lnTo>
                    <a:pt x="135" y="1347"/>
                  </a:lnTo>
                  <a:lnTo>
                    <a:pt x="135" y="1179"/>
                  </a:lnTo>
                  <a:lnTo>
                    <a:pt x="135" y="909"/>
                  </a:lnTo>
                  <a:lnTo>
                    <a:pt x="135" y="573"/>
                  </a:lnTo>
                  <a:lnTo>
                    <a:pt x="102" y="236"/>
                  </a:lnTo>
                  <a:lnTo>
                    <a:pt x="135" y="236"/>
                  </a:lnTo>
                  <a:lnTo>
                    <a:pt x="236" y="169"/>
                  </a:lnTo>
                  <a:lnTo>
                    <a:pt x="337" y="135"/>
                  </a:lnTo>
                  <a:close/>
                  <a:moveTo>
                    <a:pt x="304" y="0"/>
                  </a:moveTo>
                  <a:lnTo>
                    <a:pt x="203" y="34"/>
                  </a:lnTo>
                  <a:lnTo>
                    <a:pt x="102" y="101"/>
                  </a:lnTo>
                  <a:lnTo>
                    <a:pt x="102" y="34"/>
                  </a:lnTo>
                  <a:lnTo>
                    <a:pt x="34" y="34"/>
                  </a:lnTo>
                  <a:lnTo>
                    <a:pt x="1" y="337"/>
                  </a:lnTo>
                  <a:lnTo>
                    <a:pt x="1" y="640"/>
                  </a:lnTo>
                  <a:lnTo>
                    <a:pt x="1" y="1246"/>
                  </a:lnTo>
                  <a:lnTo>
                    <a:pt x="34" y="1347"/>
                  </a:lnTo>
                  <a:lnTo>
                    <a:pt x="68" y="1448"/>
                  </a:lnTo>
                  <a:lnTo>
                    <a:pt x="135" y="1515"/>
                  </a:lnTo>
                  <a:lnTo>
                    <a:pt x="236" y="1583"/>
                  </a:lnTo>
                  <a:lnTo>
                    <a:pt x="472" y="1616"/>
                  </a:lnTo>
                  <a:lnTo>
                    <a:pt x="741" y="1650"/>
                  </a:lnTo>
                  <a:lnTo>
                    <a:pt x="1280" y="1583"/>
                  </a:lnTo>
                  <a:lnTo>
                    <a:pt x="1617" y="1549"/>
                  </a:lnTo>
                  <a:lnTo>
                    <a:pt x="2257" y="1549"/>
                  </a:lnTo>
                  <a:lnTo>
                    <a:pt x="2593" y="1515"/>
                  </a:lnTo>
                  <a:lnTo>
                    <a:pt x="2661" y="1482"/>
                  </a:lnTo>
                  <a:lnTo>
                    <a:pt x="2661" y="1448"/>
                  </a:lnTo>
                  <a:lnTo>
                    <a:pt x="2661" y="1414"/>
                  </a:lnTo>
                  <a:lnTo>
                    <a:pt x="2593" y="1246"/>
                  </a:lnTo>
                  <a:lnTo>
                    <a:pt x="2560" y="1078"/>
                  </a:lnTo>
                  <a:lnTo>
                    <a:pt x="2560" y="741"/>
                  </a:lnTo>
                  <a:lnTo>
                    <a:pt x="2593" y="539"/>
                  </a:lnTo>
                  <a:lnTo>
                    <a:pt x="2593" y="371"/>
                  </a:lnTo>
                  <a:lnTo>
                    <a:pt x="2560" y="202"/>
                  </a:lnTo>
                  <a:lnTo>
                    <a:pt x="2459" y="34"/>
                  </a:lnTo>
                  <a:lnTo>
                    <a:pt x="2425" y="34"/>
                  </a:lnTo>
                  <a:lnTo>
                    <a:pt x="2391" y="0"/>
                  </a:lnTo>
                  <a:lnTo>
                    <a:pt x="2055" y="34"/>
                  </a:lnTo>
                  <a:lnTo>
                    <a:pt x="1718" y="34"/>
                  </a:lnTo>
                  <a:lnTo>
                    <a:pt x="1011"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30" name="Google Shape;1830;p12"/>
            <p:cNvSpPr/>
            <p:nvPr/>
          </p:nvSpPr>
          <p:spPr>
            <a:xfrm>
              <a:off x="3611981" y="5086262"/>
              <a:ext cx="129028" cy="60359"/>
            </a:xfrm>
            <a:custGeom>
              <a:avLst/>
              <a:gdLst/>
              <a:ahLst/>
              <a:cxnLst/>
              <a:rect l="l" t="t" r="r" b="b"/>
              <a:pathLst>
                <a:path w="2593" h="1213" extrusionOk="0">
                  <a:moveTo>
                    <a:pt x="1852" y="0"/>
                  </a:moveTo>
                  <a:lnTo>
                    <a:pt x="1347" y="34"/>
                  </a:lnTo>
                  <a:lnTo>
                    <a:pt x="842" y="68"/>
                  </a:lnTo>
                  <a:lnTo>
                    <a:pt x="68" y="68"/>
                  </a:lnTo>
                  <a:lnTo>
                    <a:pt x="34" y="101"/>
                  </a:lnTo>
                  <a:lnTo>
                    <a:pt x="0" y="135"/>
                  </a:lnTo>
                  <a:lnTo>
                    <a:pt x="0" y="169"/>
                  </a:lnTo>
                  <a:lnTo>
                    <a:pt x="34" y="202"/>
                  </a:lnTo>
                  <a:lnTo>
                    <a:pt x="0" y="404"/>
                  </a:lnTo>
                  <a:lnTo>
                    <a:pt x="0" y="640"/>
                  </a:lnTo>
                  <a:lnTo>
                    <a:pt x="34" y="1078"/>
                  </a:lnTo>
                  <a:lnTo>
                    <a:pt x="34" y="1212"/>
                  </a:lnTo>
                  <a:lnTo>
                    <a:pt x="169" y="1212"/>
                  </a:lnTo>
                  <a:lnTo>
                    <a:pt x="169" y="741"/>
                  </a:lnTo>
                  <a:lnTo>
                    <a:pt x="135" y="472"/>
                  </a:lnTo>
                  <a:lnTo>
                    <a:pt x="135" y="236"/>
                  </a:lnTo>
                  <a:lnTo>
                    <a:pt x="909" y="202"/>
                  </a:lnTo>
                  <a:lnTo>
                    <a:pt x="1684" y="135"/>
                  </a:lnTo>
                  <a:lnTo>
                    <a:pt x="1953" y="135"/>
                  </a:lnTo>
                  <a:lnTo>
                    <a:pt x="2189" y="169"/>
                  </a:lnTo>
                  <a:lnTo>
                    <a:pt x="2323" y="202"/>
                  </a:lnTo>
                  <a:lnTo>
                    <a:pt x="2391" y="303"/>
                  </a:lnTo>
                  <a:lnTo>
                    <a:pt x="2424" y="404"/>
                  </a:lnTo>
                  <a:lnTo>
                    <a:pt x="2458" y="539"/>
                  </a:lnTo>
                  <a:lnTo>
                    <a:pt x="2458" y="876"/>
                  </a:lnTo>
                  <a:lnTo>
                    <a:pt x="2424" y="1212"/>
                  </a:lnTo>
                  <a:lnTo>
                    <a:pt x="2525" y="1212"/>
                  </a:lnTo>
                  <a:lnTo>
                    <a:pt x="2593" y="842"/>
                  </a:lnTo>
                  <a:lnTo>
                    <a:pt x="2593" y="505"/>
                  </a:lnTo>
                  <a:lnTo>
                    <a:pt x="2559" y="303"/>
                  </a:lnTo>
                  <a:lnTo>
                    <a:pt x="2492" y="169"/>
                  </a:lnTo>
                  <a:lnTo>
                    <a:pt x="2357" y="68"/>
                  </a:lnTo>
                  <a:lnTo>
                    <a:pt x="2189" y="34"/>
                  </a:lnTo>
                  <a:lnTo>
                    <a:pt x="2020"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31" name="Google Shape;1831;p12"/>
            <p:cNvSpPr/>
            <p:nvPr/>
          </p:nvSpPr>
          <p:spPr>
            <a:xfrm>
              <a:off x="3427670" y="4851694"/>
              <a:ext cx="137437" cy="82154"/>
            </a:xfrm>
            <a:custGeom>
              <a:avLst/>
              <a:gdLst/>
              <a:ahLst/>
              <a:cxnLst/>
              <a:rect l="l" t="t" r="r" b="b"/>
              <a:pathLst>
                <a:path w="2762" h="1651" extrusionOk="0">
                  <a:moveTo>
                    <a:pt x="2593" y="135"/>
                  </a:moveTo>
                  <a:lnTo>
                    <a:pt x="2627" y="169"/>
                  </a:lnTo>
                  <a:lnTo>
                    <a:pt x="2661" y="169"/>
                  </a:lnTo>
                  <a:lnTo>
                    <a:pt x="2661" y="270"/>
                  </a:lnTo>
                  <a:lnTo>
                    <a:pt x="2627" y="573"/>
                  </a:lnTo>
                  <a:lnTo>
                    <a:pt x="2526" y="1145"/>
                  </a:lnTo>
                  <a:lnTo>
                    <a:pt x="2492" y="1314"/>
                  </a:lnTo>
                  <a:lnTo>
                    <a:pt x="2425" y="1415"/>
                  </a:lnTo>
                  <a:lnTo>
                    <a:pt x="2324" y="1448"/>
                  </a:lnTo>
                  <a:lnTo>
                    <a:pt x="2122" y="1482"/>
                  </a:lnTo>
                  <a:lnTo>
                    <a:pt x="1785" y="1516"/>
                  </a:lnTo>
                  <a:lnTo>
                    <a:pt x="1415" y="1482"/>
                  </a:lnTo>
                  <a:lnTo>
                    <a:pt x="843" y="1448"/>
                  </a:lnTo>
                  <a:lnTo>
                    <a:pt x="506" y="1448"/>
                  </a:lnTo>
                  <a:lnTo>
                    <a:pt x="337" y="1415"/>
                  </a:lnTo>
                  <a:lnTo>
                    <a:pt x="270" y="1381"/>
                  </a:lnTo>
                  <a:lnTo>
                    <a:pt x="203" y="1314"/>
                  </a:lnTo>
                  <a:lnTo>
                    <a:pt x="169" y="1246"/>
                  </a:lnTo>
                  <a:lnTo>
                    <a:pt x="135" y="1145"/>
                  </a:lnTo>
                  <a:lnTo>
                    <a:pt x="135" y="910"/>
                  </a:lnTo>
                  <a:lnTo>
                    <a:pt x="135" y="539"/>
                  </a:lnTo>
                  <a:lnTo>
                    <a:pt x="203" y="203"/>
                  </a:lnTo>
                  <a:lnTo>
                    <a:pt x="438" y="169"/>
                  </a:lnTo>
                  <a:lnTo>
                    <a:pt x="742" y="169"/>
                  </a:lnTo>
                  <a:lnTo>
                    <a:pt x="1213" y="135"/>
                  </a:lnTo>
                  <a:close/>
                  <a:moveTo>
                    <a:pt x="742" y="1"/>
                  </a:moveTo>
                  <a:lnTo>
                    <a:pt x="472" y="34"/>
                  </a:lnTo>
                  <a:lnTo>
                    <a:pt x="203" y="68"/>
                  </a:lnTo>
                  <a:lnTo>
                    <a:pt x="169" y="34"/>
                  </a:lnTo>
                  <a:lnTo>
                    <a:pt x="135" y="34"/>
                  </a:lnTo>
                  <a:lnTo>
                    <a:pt x="102" y="68"/>
                  </a:lnTo>
                  <a:lnTo>
                    <a:pt x="102" y="102"/>
                  </a:lnTo>
                  <a:lnTo>
                    <a:pt x="68" y="135"/>
                  </a:lnTo>
                  <a:lnTo>
                    <a:pt x="34" y="203"/>
                  </a:lnTo>
                  <a:lnTo>
                    <a:pt x="34" y="236"/>
                  </a:lnTo>
                  <a:lnTo>
                    <a:pt x="68" y="270"/>
                  </a:lnTo>
                  <a:lnTo>
                    <a:pt x="1" y="708"/>
                  </a:lnTo>
                  <a:lnTo>
                    <a:pt x="1" y="1145"/>
                  </a:lnTo>
                  <a:lnTo>
                    <a:pt x="34" y="1280"/>
                  </a:lnTo>
                  <a:lnTo>
                    <a:pt x="68" y="1381"/>
                  </a:lnTo>
                  <a:lnTo>
                    <a:pt x="135" y="1448"/>
                  </a:lnTo>
                  <a:lnTo>
                    <a:pt x="203" y="1516"/>
                  </a:lnTo>
                  <a:lnTo>
                    <a:pt x="472" y="1583"/>
                  </a:lnTo>
                  <a:lnTo>
                    <a:pt x="742" y="1617"/>
                  </a:lnTo>
                  <a:lnTo>
                    <a:pt x="1314" y="1650"/>
                  </a:lnTo>
                  <a:lnTo>
                    <a:pt x="1954" y="1650"/>
                  </a:lnTo>
                  <a:lnTo>
                    <a:pt x="2257" y="1617"/>
                  </a:lnTo>
                  <a:lnTo>
                    <a:pt x="2593" y="1549"/>
                  </a:lnTo>
                  <a:lnTo>
                    <a:pt x="2627" y="1516"/>
                  </a:lnTo>
                  <a:lnTo>
                    <a:pt x="2627" y="1482"/>
                  </a:lnTo>
                  <a:lnTo>
                    <a:pt x="2661" y="1145"/>
                  </a:lnTo>
                  <a:lnTo>
                    <a:pt x="2694" y="809"/>
                  </a:lnTo>
                  <a:lnTo>
                    <a:pt x="2728" y="472"/>
                  </a:lnTo>
                  <a:lnTo>
                    <a:pt x="2762" y="102"/>
                  </a:lnTo>
                  <a:lnTo>
                    <a:pt x="2762" y="68"/>
                  </a:lnTo>
                  <a:lnTo>
                    <a:pt x="2728" y="68"/>
                  </a:lnTo>
                  <a:lnTo>
                    <a:pt x="2324" y="34"/>
                  </a:lnTo>
                  <a:lnTo>
                    <a:pt x="1954" y="1"/>
                  </a:lnTo>
                  <a:lnTo>
                    <a:pt x="1146" y="34"/>
                  </a:lnTo>
                  <a:lnTo>
                    <a:pt x="742"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32" name="Google Shape;1832;p12"/>
            <p:cNvSpPr/>
            <p:nvPr/>
          </p:nvSpPr>
          <p:spPr>
            <a:xfrm>
              <a:off x="2523034" y="4848360"/>
              <a:ext cx="134053" cy="83796"/>
            </a:xfrm>
            <a:custGeom>
              <a:avLst/>
              <a:gdLst/>
              <a:ahLst/>
              <a:cxnLst/>
              <a:rect l="l" t="t" r="r" b="b"/>
              <a:pathLst>
                <a:path w="2694" h="1684" extrusionOk="0">
                  <a:moveTo>
                    <a:pt x="707" y="135"/>
                  </a:moveTo>
                  <a:lnTo>
                    <a:pt x="976" y="202"/>
                  </a:lnTo>
                  <a:lnTo>
                    <a:pt x="1212" y="202"/>
                  </a:lnTo>
                  <a:lnTo>
                    <a:pt x="1885" y="236"/>
                  </a:lnTo>
                  <a:lnTo>
                    <a:pt x="2222" y="236"/>
                  </a:lnTo>
                  <a:lnTo>
                    <a:pt x="2559" y="202"/>
                  </a:lnTo>
                  <a:lnTo>
                    <a:pt x="2559" y="202"/>
                  </a:lnTo>
                  <a:lnTo>
                    <a:pt x="2492" y="707"/>
                  </a:lnTo>
                  <a:lnTo>
                    <a:pt x="2492" y="1179"/>
                  </a:lnTo>
                  <a:lnTo>
                    <a:pt x="2458" y="1313"/>
                  </a:lnTo>
                  <a:lnTo>
                    <a:pt x="2458" y="1414"/>
                  </a:lnTo>
                  <a:lnTo>
                    <a:pt x="2357" y="1482"/>
                  </a:lnTo>
                  <a:lnTo>
                    <a:pt x="2256" y="1482"/>
                  </a:lnTo>
                  <a:lnTo>
                    <a:pt x="1616" y="1515"/>
                  </a:lnTo>
                  <a:lnTo>
                    <a:pt x="1313" y="1515"/>
                  </a:lnTo>
                  <a:lnTo>
                    <a:pt x="875" y="1549"/>
                  </a:lnTo>
                  <a:lnTo>
                    <a:pt x="640" y="1515"/>
                  </a:lnTo>
                  <a:lnTo>
                    <a:pt x="438" y="1515"/>
                  </a:lnTo>
                  <a:lnTo>
                    <a:pt x="303" y="1448"/>
                  </a:lnTo>
                  <a:lnTo>
                    <a:pt x="269" y="1414"/>
                  </a:lnTo>
                  <a:lnTo>
                    <a:pt x="236" y="1381"/>
                  </a:lnTo>
                  <a:lnTo>
                    <a:pt x="202" y="606"/>
                  </a:lnTo>
                  <a:lnTo>
                    <a:pt x="202" y="303"/>
                  </a:lnTo>
                  <a:lnTo>
                    <a:pt x="202" y="236"/>
                  </a:lnTo>
                  <a:lnTo>
                    <a:pt x="168" y="270"/>
                  </a:lnTo>
                  <a:lnTo>
                    <a:pt x="135" y="236"/>
                  </a:lnTo>
                  <a:lnTo>
                    <a:pt x="168" y="236"/>
                  </a:lnTo>
                  <a:lnTo>
                    <a:pt x="168" y="202"/>
                  </a:lnTo>
                  <a:lnTo>
                    <a:pt x="168" y="169"/>
                  </a:lnTo>
                  <a:lnTo>
                    <a:pt x="438" y="135"/>
                  </a:lnTo>
                  <a:close/>
                  <a:moveTo>
                    <a:pt x="269" y="0"/>
                  </a:moveTo>
                  <a:lnTo>
                    <a:pt x="135" y="34"/>
                  </a:lnTo>
                  <a:lnTo>
                    <a:pt x="34" y="68"/>
                  </a:lnTo>
                  <a:lnTo>
                    <a:pt x="0" y="101"/>
                  </a:lnTo>
                  <a:lnTo>
                    <a:pt x="0" y="169"/>
                  </a:lnTo>
                  <a:lnTo>
                    <a:pt x="34" y="202"/>
                  </a:lnTo>
                  <a:lnTo>
                    <a:pt x="101" y="202"/>
                  </a:lnTo>
                  <a:lnTo>
                    <a:pt x="67" y="337"/>
                  </a:lnTo>
                  <a:lnTo>
                    <a:pt x="67" y="472"/>
                  </a:lnTo>
                  <a:lnTo>
                    <a:pt x="67" y="1010"/>
                  </a:lnTo>
                  <a:lnTo>
                    <a:pt x="101" y="1515"/>
                  </a:lnTo>
                  <a:lnTo>
                    <a:pt x="135" y="1549"/>
                  </a:lnTo>
                  <a:lnTo>
                    <a:pt x="168" y="1583"/>
                  </a:lnTo>
                  <a:lnTo>
                    <a:pt x="438" y="1650"/>
                  </a:lnTo>
                  <a:lnTo>
                    <a:pt x="707" y="1684"/>
                  </a:lnTo>
                  <a:lnTo>
                    <a:pt x="2121" y="1684"/>
                  </a:lnTo>
                  <a:lnTo>
                    <a:pt x="2390" y="1650"/>
                  </a:lnTo>
                  <a:lnTo>
                    <a:pt x="2492" y="1616"/>
                  </a:lnTo>
                  <a:lnTo>
                    <a:pt x="2559" y="1549"/>
                  </a:lnTo>
                  <a:lnTo>
                    <a:pt x="2593" y="1482"/>
                  </a:lnTo>
                  <a:lnTo>
                    <a:pt x="2626" y="1381"/>
                  </a:lnTo>
                  <a:lnTo>
                    <a:pt x="2626" y="775"/>
                  </a:lnTo>
                  <a:lnTo>
                    <a:pt x="2660" y="472"/>
                  </a:lnTo>
                  <a:lnTo>
                    <a:pt x="2694" y="169"/>
                  </a:lnTo>
                  <a:lnTo>
                    <a:pt x="2660" y="101"/>
                  </a:lnTo>
                  <a:lnTo>
                    <a:pt x="2593" y="68"/>
                  </a:lnTo>
                  <a:lnTo>
                    <a:pt x="2222" y="101"/>
                  </a:lnTo>
                  <a:lnTo>
                    <a:pt x="1818" y="101"/>
                  </a:lnTo>
                  <a:lnTo>
                    <a:pt x="976" y="34"/>
                  </a:lnTo>
                  <a:lnTo>
                    <a:pt x="505"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33" name="Google Shape;1833;p12"/>
            <p:cNvSpPr/>
            <p:nvPr/>
          </p:nvSpPr>
          <p:spPr>
            <a:xfrm>
              <a:off x="4178250" y="4846668"/>
              <a:ext cx="139079" cy="87180"/>
            </a:xfrm>
            <a:custGeom>
              <a:avLst/>
              <a:gdLst/>
              <a:ahLst/>
              <a:cxnLst/>
              <a:rect l="l" t="t" r="r" b="b"/>
              <a:pathLst>
                <a:path w="2795" h="1752" extrusionOk="0">
                  <a:moveTo>
                    <a:pt x="505" y="102"/>
                  </a:moveTo>
                  <a:lnTo>
                    <a:pt x="909" y="135"/>
                  </a:lnTo>
                  <a:lnTo>
                    <a:pt x="1380" y="169"/>
                  </a:lnTo>
                  <a:lnTo>
                    <a:pt x="1818" y="203"/>
                  </a:lnTo>
                  <a:lnTo>
                    <a:pt x="2155" y="236"/>
                  </a:lnTo>
                  <a:lnTo>
                    <a:pt x="2492" y="236"/>
                  </a:lnTo>
                  <a:lnTo>
                    <a:pt x="2559" y="270"/>
                  </a:lnTo>
                  <a:lnTo>
                    <a:pt x="2593" y="337"/>
                  </a:lnTo>
                  <a:lnTo>
                    <a:pt x="2660" y="607"/>
                  </a:lnTo>
                  <a:lnTo>
                    <a:pt x="2660" y="876"/>
                  </a:lnTo>
                  <a:lnTo>
                    <a:pt x="2660" y="1078"/>
                  </a:lnTo>
                  <a:lnTo>
                    <a:pt x="2660" y="1246"/>
                  </a:lnTo>
                  <a:lnTo>
                    <a:pt x="2626" y="1448"/>
                  </a:lnTo>
                  <a:lnTo>
                    <a:pt x="2593" y="1516"/>
                  </a:lnTo>
                  <a:lnTo>
                    <a:pt x="2559" y="1549"/>
                  </a:lnTo>
                  <a:lnTo>
                    <a:pt x="2424" y="1617"/>
                  </a:lnTo>
                  <a:lnTo>
                    <a:pt x="2155" y="1617"/>
                  </a:lnTo>
                  <a:lnTo>
                    <a:pt x="1717" y="1583"/>
                  </a:lnTo>
                  <a:lnTo>
                    <a:pt x="1481" y="1549"/>
                  </a:lnTo>
                  <a:lnTo>
                    <a:pt x="1279" y="1549"/>
                  </a:lnTo>
                  <a:lnTo>
                    <a:pt x="707" y="1617"/>
                  </a:lnTo>
                  <a:lnTo>
                    <a:pt x="471" y="1583"/>
                  </a:lnTo>
                  <a:lnTo>
                    <a:pt x="404" y="1583"/>
                  </a:lnTo>
                  <a:lnTo>
                    <a:pt x="370" y="1549"/>
                  </a:lnTo>
                  <a:lnTo>
                    <a:pt x="337" y="1482"/>
                  </a:lnTo>
                  <a:lnTo>
                    <a:pt x="303" y="1280"/>
                  </a:lnTo>
                  <a:lnTo>
                    <a:pt x="303" y="741"/>
                  </a:lnTo>
                  <a:lnTo>
                    <a:pt x="303" y="203"/>
                  </a:lnTo>
                  <a:lnTo>
                    <a:pt x="303" y="169"/>
                  </a:lnTo>
                  <a:lnTo>
                    <a:pt x="269" y="135"/>
                  </a:lnTo>
                  <a:lnTo>
                    <a:pt x="505" y="102"/>
                  </a:lnTo>
                  <a:close/>
                  <a:moveTo>
                    <a:pt x="337" y="1"/>
                  </a:moveTo>
                  <a:lnTo>
                    <a:pt x="168" y="34"/>
                  </a:lnTo>
                  <a:lnTo>
                    <a:pt x="34" y="135"/>
                  </a:lnTo>
                  <a:lnTo>
                    <a:pt x="0" y="169"/>
                  </a:lnTo>
                  <a:lnTo>
                    <a:pt x="34" y="203"/>
                  </a:lnTo>
                  <a:lnTo>
                    <a:pt x="67" y="236"/>
                  </a:lnTo>
                  <a:lnTo>
                    <a:pt x="101" y="203"/>
                  </a:lnTo>
                  <a:lnTo>
                    <a:pt x="202" y="169"/>
                  </a:lnTo>
                  <a:lnTo>
                    <a:pt x="236" y="152"/>
                  </a:lnTo>
                  <a:lnTo>
                    <a:pt x="236" y="169"/>
                  </a:lnTo>
                  <a:lnTo>
                    <a:pt x="168" y="506"/>
                  </a:lnTo>
                  <a:lnTo>
                    <a:pt x="135" y="809"/>
                  </a:lnTo>
                  <a:lnTo>
                    <a:pt x="135" y="1011"/>
                  </a:lnTo>
                  <a:lnTo>
                    <a:pt x="168" y="1213"/>
                  </a:lnTo>
                  <a:lnTo>
                    <a:pt x="168" y="1415"/>
                  </a:lnTo>
                  <a:lnTo>
                    <a:pt x="168" y="1617"/>
                  </a:lnTo>
                  <a:lnTo>
                    <a:pt x="202" y="1684"/>
                  </a:lnTo>
                  <a:lnTo>
                    <a:pt x="236" y="1684"/>
                  </a:lnTo>
                  <a:lnTo>
                    <a:pt x="539" y="1718"/>
                  </a:lnTo>
                  <a:lnTo>
                    <a:pt x="842" y="1718"/>
                  </a:lnTo>
                  <a:lnTo>
                    <a:pt x="1481" y="1684"/>
                  </a:lnTo>
                  <a:lnTo>
                    <a:pt x="1717" y="1718"/>
                  </a:lnTo>
                  <a:lnTo>
                    <a:pt x="1953" y="1751"/>
                  </a:lnTo>
                  <a:lnTo>
                    <a:pt x="2458" y="1751"/>
                  </a:lnTo>
                  <a:lnTo>
                    <a:pt x="2593" y="1684"/>
                  </a:lnTo>
                  <a:lnTo>
                    <a:pt x="2727" y="1583"/>
                  </a:lnTo>
                  <a:lnTo>
                    <a:pt x="2761" y="1415"/>
                  </a:lnTo>
                  <a:lnTo>
                    <a:pt x="2795" y="1213"/>
                  </a:lnTo>
                  <a:lnTo>
                    <a:pt x="2795" y="842"/>
                  </a:lnTo>
                  <a:lnTo>
                    <a:pt x="2761" y="506"/>
                  </a:lnTo>
                  <a:lnTo>
                    <a:pt x="2694" y="304"/>
                  </a:lnTo>
                  <a:lnTo>
                    <a:pt x="2626" y="203"/>
                  </a:lnTo>
                  <a:lnTo>
                    <a:pt x="2559" y="135"/>
                  </a:lnTo>
                  <a:lnTo>
                    <a:pt x="2391" y="102"/>
                  </a:lnTo>
                  <a:lnTo>
                    <a:pt x="2222" y="135"/>
                  </a:lnTo>
                  <a:lnTo>
                    <a:pt x="2088" y="135"/>
                  </a:lnTo>
                  <a:lnTo>
                    <a:pt x="1919" y="102"/>
                  </a:lnTo>
                  <a:lnTo>
                    <a:pt x="1616" y="68"/>
                  </a:lnTo>
                  <a:lnTo>
                    <a:pt x="1145" y="34"/>
                  </a:lnTo>
                  <a:lnTo>
                    <a:pt x="673"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34" name="Google Shape;1834;p12"/>
            <p:cNvSpPr/>
            <p:nvPr/>
          </p:nvSpPr>
          <p:spPr>
            <a:xfrm>
              <a:off x="3727574" y="4851694"/>
              <a:ext cx="139079" cy="80462"/>
            </a:xfrm>
            <a:custGeom>
              <a:avLst/>
              <a:gdLst/>
              <a:ahLst/>
              <a:cxnLst/>
              <a:rect l="l" t="t" r="r" b="b"/>
              <a:pathLst>
                <a:path w="2795" h="1617" extrusionOk="0">
                  <a:moveTo>
                    <a:pt x="2660" y="169"/>
                  </a:moveTo>
                  <a:lnTo>
                    <a:pt x="2593" y="1415"/>
                  </a:lnTo>
                  <a:lnTo>
                    <a:pt x="2020" y="1448"/>
                  </a:lnTo>
                  <a:lnTo>
                    <a:pt x="1448" y="1415"/>
                  </a:lnTo>
                  <a:lnTo>
                    <a:pt x="876" y="1415"/>
                  </a:lnTo>
                  <a:lnTo>
                    <a:pt x="303" y="1448"/>
                  </a:lnTo>
                  <a:lnTo>
                    <a:pt x="202" y="1145"/>
                  </a:lnTo>
                  <a:lnTo>
                    <a:pt x="169" y="809"/>
                  </a:lnTo>
                  <a:lnTo>
                    <a:pt x="135" y="506"/>
                  </a:lnTo>
                  <a:lnTo>
                    <a:pt x="202" y="203"/>
                  </a:lnTo>
                  <a:lnTo>
                    <a:pt x="303" y="169"/>
                  </a:lnTo>
                  <a:lnTo>
                    <a:pt x="404" y="169"/>
                  </a:lnTo>
                  <a:lnTo>
                    <a:pt x="606" y="203"/>
                  </a:lnTo>
                  <a:lnTo>
                    <a:pt x="1111" y="236"/>
                  </a:lnTo>
                  <a:lnTo>
                    <a:pt x="1886" y="236"/>
                  </a:lnTo>
                  <a:lnTo>
                    <a:pt x="2660" y="169"/>
                  </a:lnTo>
                  <a:close/>
                  <a:moveTo>
                    <a:pt x="404" y="1"/>
                  </a:moveTo>
                  <a:lnTo>
                    <a:pt x="202" y="34"/>
                  </a:lnTo>
                  <a:lnTo>
                    <a:pt x="169" y="34"/>
                  </a:lnTo>
                  <a:lnTo>
                    <a:pt x="135" y="68"/>
                  </a:lnTo>
                  <a:lnTo>
                    <a:pt x="101" y="68"/>
                  </a:lnTo>
                  <a:lnTo>
                    <a:pt x="68" y="135"/>
                  </a:lnTo>
                  <a:lnTo>
                    <a:pt x="101" y="169"/>
                  </a:lnTo>
                  <a:lnTo>
                    <a:pt x="34" y="337"/>
                  </a:lnTo>
                  <a:lnTo>
                    <a:pt x="0" y="506"/>
                  </a:lnTo>
                  <a:lnTo>
                    <a:pt x="0" y="876"/>
                  </a:lnTo>
                  <a:lnTo>
                    <a:pt x="68" y="1246"/>
                  </a:lnTo>
                  <a:lnTo>
                    <a:pt x="169" y="1549"/>
                  </a:lnTo>
                  <a:lnTo>
                    <a:pt x="202" y="1583"/>
                  </a:lnTo>
                  <a:lnTo>
                    <a:pt x="270" y="1617"/>
                  </a:lnTo>
                  <a:lnTo>
                    <a:pt x="573" y="1583"/>
                  </a:lnTo>
                  <a:lnTo>
                    <a:pt x="876" y="1549"/>
                  </a:lnTo>
                  <a:lnTo>
                    <a:pt x="1482" y="1583"/>
                  </a:lnTo>
                  <a:lnTo>
                    <a:pt x="2088" y="1617"/>
                  </a:lnTo>
                  <a:lnTo>
                    <a:pt x="2694" y="1583"/>
                  </a:lnTo>
                  <a:lnTo>
                    <a:pt x="2727" y="1549"/>
                  </a:lnTo>
                  <a:lnTo>
                    <a:pt x="2761" y="1516"/>
                  </a:lnTo>
                  <a:lnTo>
                    <a:pt x="2761" y="809"/>
                  </a:lnTo>
                  <a:lnTo>
                    <a:pt x="2795" y="102"/>
                  </a:lnTo>
                  <a:lnTo>
                    <a:pt x="2795" y="34"/>
                  </a:lnTo>
                  <a:lnTo>
                    <a:pt x="2727" y="1"/>
                  </a:lnTo>
                  <a:lnTo>
                    <a:pt x="1886" y="68"/>
                  </a:lnTo>
                  <a:lnTo>
                    <a:pt x="1482" y="102"/>
                  </a:lnTo>
                  <a:lnTo>
                    <a:pt x="1044" y="68"/>
                  </a:lnTo>
                  <a:lnTo>
                    <a:pt x="640" y="34"/>
                  </a:lnTo>
                  <a:lnTo>
                    <a:pt x="404"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35" name="Google Shape;1835;p12"/>
            <p:cNvSpPr/>
            <p:nvPr/>
          </p:nvSpPr>
          <p:spPr>
            <a:xfrm>
              <a:off x="2667089" y="4943849"/>
              <a:ext cx="129028" cy="130720"/>
            </a:xfrm>
            <a:custGeom>
              <a:avLst/>
              <a:gdLst/>
              <a:ahLst/>
              <a:cxnLst/>
              <a:rect l="l" t="t" r="r" b="b"/>
              <a:pathLst>
                <a:path w="2593" h="2627" extrusionOk="0">
                  <a:moveTo>
                    <a:pt x="1953" y="135"/>
                  </a:moveTo>
                  <a:lnTo>
                    <a:pt x="2189" y="169"/>
                  </a:lnTo>
                  <a:lnTo>
                    <a:pt x="2324" y="202"/>
                  </a:lnTo>
                  <a:lnTo>
                    <a:pt x="2391" y="270"/>
                  </a:lnTo>
                  <a:lnTo>
                    <a:pt x="2425" y="404"/>
                  </a:lnTo>
                  <a:lnTo>
                    <a:pt x="2458" y="539"/>
                  </a:lnTo>
                  <a:lnTo>
                    <a:pt x="2458" y="775"/>
                  </a:lnTo>
                  <a:lnTo>
                    <a:pt x="2425" y="1010"/>
                  </a:lnTo>
                  <a:lnTo>
                    <a:pt x="2357" y="1516"/>
                  </a:lnTo>
                  <a:lnTo>
                    <a:pt x="2357" y="1751"/>
                  </a:lnTo>
                  <a:lnTo>
                    <a:pt x="2357" y="2088"/>
                  </a:lnTo>
                  <a:lnTo>
                    <a:pt x="2357" y="2223"/>
                  </a:lnTo>
                  <a:lnTo>
                    <a:pt x="2324" y="2357"/>
                  </a:lnTo>
                  <a:lnTo>
                    <a:pt x="2223" y="2425"/>
                  </a:lnTo>
                  <a:lnTo>
                    <a:pt x="2122" y="2458"/>
                  </a:lnTo>
                  <a:lnTo>
                    <a:pt x="1987" y="2458"/>
                  </a:lnTo>
                  <a:lnTo>
                    <a:pt x="1852" y="2425"/>
                  </a:lnTo>
                  <a:lnTo>
                    <a:pt x="1617" y="2357"/>
                  </a:lnTo>
                  <a:lnTo>
                    <a:pt x="1246" y="2357"/>
                  </a:lnTo>
                  <a:lnTo>
                    <a:pt x="910" y="2391"/>
                  </a:lnTo>
                  <a:lnTo>
                    <a:pt x="708" y="2425"/>
                  </a:lnTo>
                  <a:lnTo>
                    <a:pt x="472" y="2425"/>
                  </a:lnTo>
                  <a:lnTo>
                    <a:pt x="337" y="2391"/>
                  </a:lnTo>
                  <a:lnTo>
                    <a:pt x="270" y="2357"/>
                  </a:lnTo>
                  <a:lnTo>
                    <a:pt x="169" y="2290"/>
                  </a:lnTo>
                  <a:lnTo>
                    <a:pt x="135" y="2189"/>
                  </a:lnTo>
                  <a:lnTo>
                    <a:pt x="135" y="1819"/>
                  </a:lnTo>
                  <a:lnTo>
                    <a:pt x="135" y="1415"/>
                  </a:lnTo>
                  <a:lnTo>
                    <a:pt x="169" y="1078"/>
                  </a:lnTo>
                  <a:lnTo>
                    <a:pt x="135" y="741"/>
                  </a:lnTo>
                  <a:lnTo>
                    <a:pt x="135" y="472"/>
                  </a:lnTo>
                  <a:lnTo>
                    <a:pt x="135" y="202"/>
                  </a:lnTo>
                  <a:lnTo>
                    <a:pt x="910" y="202"/>
                  </a:lnTo>
                  <a:lnTo>
                    <a:pt x="1684" y="135"/>
                  </a:lnTo>
                  <a:close/>
                  <a:moveTo>
                    <a:pt x="1852" y="0"/>
                  </a:moveTo>
                  <a:lnTo>
                    <a:pt x="1347" y="34"/>
                  </a:lnTo>
                  <a:lnTo>
                    <a:pt x="842" y="68"/>
                  </a:lnTo>
                  <a:lnTo>
                    <a:pt x="68" y="68"/>
                  </a:lnTo>
                  <a:lnTo>
                    <a:pt x="34" y="101"/>
                  </a:lnTo>
                  <a:lnTo>
                    <a:pt x="1" y="135"/>
                  </a:lnTo>
                  <a:lnTo>
                    <a:pt x="1" y="169"/>
                  </a:lnTo>
                  <a:lnTo>
                    <a:pt x="34" y="202"/>
                  </a:lnTo>
                  <a:lnTo>
                    <a:pt x="1" y="404"/>
                  </a:lnTo>
                  <a:lnTo>
                    <a:pt x="1" y="640"/>
                  </a:lnTo>
                  <a:lnTo>
                    <a:pt x="34" y="1078"/>
                  </a:lnTo>
                  <a:lnTo>
                    <a:pt x="1" y="1751"/>
                  </a:lnTo>
                  <a:lnTo>
                    <a:pt x="1" y="2088"/>
                  </a:lnTo>
                  <a:lnTo>
                    <a:pt x="34" y="2425"/>
                  </a:lnTo>
                  <a:lnTo>
                    <a:pt x="68" y="2458"/>
                  </a:lnTo>
                  <a:lnTo>
                    <a:pt x="102" y="2492"/>
                  </a:lnTo>
                  <a:lnTo>
                    <a:pt x="438" y="2526"/>
                  </a:lnTo>
                  <a:lnTo>
                    <a:pt x="775" y="2559"/>
                  </a:lnTo>
                  <a:lnTo>
                    <a:pt x="1482" y="2492"/>
                  </a:lnTo>
                  <a:lnTo>
                    <a:pt x="1684" y="2526"/>
                  </a:lnTo>
                  <a:lnTo>
                    <a:pt x="1920" y="2593"/>
                  </a:lnTo>
                  <a:lnTo>
                    <a:pt x="2189" y="2627"/>
                  </a:lnTo>
                  <a:lnTo>
                    <a:pt x="2290" y="2593"/>
                  </a:lnTo>
                  <a:lnTo>
                    <a:pt x="2357" y="2559"/>
                  </a:lnTo>
                  <a:lnTo>
                    <a:pt x="2425" y="2458"/>
                  </a:lnTo>
                  <a:lnTo>
                    <a:pt x="2458" y="2391"/>
                  </a:lnTo>
                  <a:lnTo>
                    <a:pt x="2492" y="2189"/>
                  </a:lnTo>
                  <a:lnTo>
                    <a:pt x="2492" y="1785"/>
                  </a:lnTo>
                  <a:lnTo>
                    <a:pt x="2492" y="1549"/>
                  </a:lnTo>
                  <a:lnTo>
                    <a:pt x="2526" y="1314"/>
                  </a:lnTo>
                  <a:lnTo>
                    <a:pt x="2559" y="842"/>
                  </a:lnTo>
                  <a:lnTo>
                    <a:pt x="2593" y="505"/>
                  </a:lnTo>
                  <a:lnTo>
                    <a:pt x="2559" y="303"/>
                  </a:lnTo>
                  <a:lnTo>
                    <a:pt x="2492" y="169"/>
                  </a:lnTo>
                  <a:lnTo>
                    <a:pt x="2357" y="68"/>
                  </a:lnTo>
                  <a:lnTo>
                    <a:pt x="2189" y="34"/>
                  </a:lnTo>
                  <a:lnTo>
                    <a:pt x="2021"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36" name="Google Shape;1836;p12"/>
            <p:cNvSpPr/>
            <p:nvPr/>
          </p:nvSpPr>
          <p:spPr>
            <a:xfrm>
              <a:off x="2668781" y="4851694"/>
              <a:ext cx="139079" cy="80462"/>
            </a:xfrm>
            <a:custGeom>
              <a:avLst/>
              <a:gdLst/>
              <a:ahLst/>
              <a:cxnLst/>
              <a:rect l="l" t="t" r="r" b="b"/>
              <a:pathLst>
                <a:path w="2795" h="1617" extrusionOk="0">
                  <a:moveTo>
                    <a:pt x="2660" y="169"/>
                  </a:moveTo>
                  <a:lnTo>
                    <a:pt x="2593" y="1415"/>
                  </a:lnTo>
                  <a:lnTo>
                    <a:pt x="2020" y="1448"/>
                  </a:lnTo>
                  <a:lnTo>
                    <a:pt x="1448" y="1415"/>
                  </a:lnTo>
                  <a:lnTo>
                    <a:pt x="876" y="1415"/>
                  </a:lnTo>
                  <a:lnTo>
                    <a:pt x="303" y="1448"/>
                  </a:lnTo>
                  <a:lnTo>
                    <a:pt x="202" y="1145"/>
                  </a:lnTo>
                  <a:lnTo>
                    <a:pt x="169" y="809"/>
                  </a:lnTo>
                  <a:lnTo>
                    <a:pt x="135" y="506"/>
                  </a:lnTo>
                  <a:lnTo>
                    <a:pt x="202" y="203"/>
                  </a:lnTo>
                  <a:lnTo>
                    <a:pt x="303" y="169"/>
                  </a:lnTo>
                  <a:lnTo>
                    <a:pt x="404" y="169"/>
                  </a:lnTo>
                  <a:lnTo>
                    <a:pt x="606" y="203"/>
                  </a:lnTo>
                  <a:lnTo>
                    <a:pt x="1111" y="236"/>
                  </a:lnTo>
                  <a:lnTo>
                    <a:pt x="1886" y="236"/>
                  </a:lnTo>
                  <a:lnTo>
                    <a:pt x="2660" y="169"/>
                  </a:lnTo>
                  <a:close/>
                  <a:moveTo>
                    <a:pt x="404" y="1"/>
                  </a:moveTo>
                  <a:lnTo>
                    <a:pt x="202" y="34"/>
                  </a:lnTo>
                  <a:lnTo>
                    <a:pt x="169" y="34"/>
                  </a:lnTo>
                  <a:lnTo>
                    <a:pt x="135" y="68"/>
                  </a:lnTo>
                  <a:lnTo>
                    <a:pt x="101" y="68"/>
                  </a:lnTo>
                  <a:lnTo>
                    <a:pt x="68" y="135"/>
                  </a:lnTo>
                  <a:lnTo>
                    <a:pt x="101" y="169"/>
                  </a:lnTo>
                  <a:lnTo>
                    <a:pt x="34" y="337"/>
                  </a:lnTo>
                  <a:lnTo>
                    <a:pt x="0" y="506"/>
                  </a:lnTo>
                  <a:lnTo>
                    <a:pt x="0" y="876"/>
                  </a:lnTo>
                  <a:lnTo>
                    <a:pt x="68" y="1246"/>
                  </a:lnTo>
                  <a:lnTo>
                    <a:pt x="169" y="1549"/>
                  </a:lnTo>
                  <a:lnTo>
                    <a:pt x="202" y="1583"/>
                  </a:lnTo>
                  <a:lnTo>
                    <a:pt x="270" y="1617"/>
                  </a:lnTo>
                  <a:lnTo>
                    <a:pt x="573" y="1583"/>
                  </a:lnTo>
                  <a:lnTo>
                    <a:pt x="876" y="1549"/>
                  </a:lnTo>
                  <a:lnTo>
                    <a:pt x="1482" y="1583"/>
                  </a:lnTo>
                  <a:lnTo>
                    <a:pt x="2088" y="1617"/>
                  </a:lnTo>
                  <a:lnTo>
                    <a:pt x="2694" y="1583"/>
                  </a:lnTo>
                  <a:lnTo>
                    <a:pt x="2727" y="1549"/>
                  </a:lnTo>
                  <a:lnTo>
                    <a:pt x="2761" y="1516"/>
                  </a:lnTo>
                  <a:lnTo>
                    <a:pt x="2761" y="809"/>
                  </a:lnTo>
                  <a:lnTo>
                    <a:pt x="2795" y="102"/>
                  </a:lnTo>
                  <a:lnTo>
                    <a:pt x="2795" y="34"/>
                  </a:lnTo>
                  <a:lnTo>
                    <a:pt x="2727" y="1"/>
                  </a:lnTo>
                  <a:lnTo>
                    <a:pt x="1886" y="68"/>
                  </a:lnTo>
                  <a:lnTo>
                    <a:pt x="1482" y="102"/>
                  </a:lnTo>
                  <a:lnTo>
                    <a:pt x="1044" y="68"/>
                  </a:lnTo>
                  <a:lnTo>
                    <a:pt x="640" y="34"/>
                  </a:lnTo>
                  <a:lnTo>
                    <a:pt x="404"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37" name="Google Shape;1837;p12"/>
            <p:cNvSpPr/>
            <p:nvPr/>
          </p:nvSpPr>
          <p:spPr>
            <a:xfrm>
              <a:off x="2737449" y="5089596"/>
              <a:ext cx="118976" cy="57025"/>
            </a:xfrm>
            <a:custGeom>
              <a:avLst/>
              <a:gdLst/>
              <a:ahLst/>
              <a:cxnLst/>
              <a:rect l="l" t="t" r="r" b="b"/>
              <a:pathLst>
                <a:path w="2391" h="1146" extrusionOk="0">
                  <a:moveTo>
                    <a:pt x="1011" y="1"/>
                  </a:moveTo>
                  <a:lnTo>
                    <a:pt x="607" y="34"/>
                  </a:lnTo>
                  <a:lnTo>
                    <a:pt x="337" y="68"/>
                  </a:lnTo>
                  <a:lnTo>
                    <a:pt x="236" y="102"/>
                  </a:lnTo>
                  <a:lnTo>
                    <a:pt x="102" y="169"/>
                  </a:lnTo>
                  <a:lnTo>
                    <a:pt x="68" y="270"/>
                  </a:lnTo>
                  <a:lnTo>
                    <a:pt x="34" y="371"/>
                  </a:lnTo>
                  <a:lnTo>
                    <a:pt x="34" y="607"/>
                  </a:lnTo>
                  <a:lnTo>
                    <a:pt x="1" y="1145"/>
                  </a:lnTo>
                  <a:lnTo>
                    <a:pt x="135" y="1145"/>
                  </a:lnTo>
                  <a:lnTo>
                    <a:pt x="169" y="842"/>
                  </a:lnTo>
                  <a:lnTo>
                    <a:pt x="169" y="539"/>
                  </a:lnTo>
                  <a:lnTo>
                    <a:pt x="203" y="371"/>
                  </a:lnTo>
                  <a:lnTo>
                    <a:pt x="236" y="304"/>
                  </a:lnTo>
                  <a:lnTo>
                    <a:pt x="304" y="236"/>
                  </a:lnTo>
                  <a:lnTo>
                    <a:pt x="506" y="169"/>
                  </a:lnTo>
                  <a:lnTo>
                    <a:pt x="741" y="135"/>
                  </a:lnTo>
                  <a:lnTo>
                    <a:pt x="1112" y="135"/>
                  </a:lnTo>
                  <a:lnTo>
                    <a:pt x="1516" y="169"/>
                  </a:lnTo>
                  <a:lnTo>
                    <a:pt x="1886" y="203"/>
                  </a:lnTo>
                  <a:lnTo>
                    <a:pt x="2256" y="304"/>
                  </a:lnTo>
                  <a:lnTo>
                    <a:pt x="2223" y="674"/>
                  </a:lnTo>
                  <a:lnTo>
                    <a:pt x="2256" y="1044"/>
                  </a:lnTo>
                  <a:lnTo>
                    <a:pt x="2223" y="1145"/>
                  </a:lnTo>
                  <a:lnTo>
                    <a:pt x="2391" y="1145"/>
                  </a:lnTo>
                  <a:lnTo>
                    <a:pt x="2391" y="977"/>
                  </a:lnTo>
                  <a:lnTo>
                    <a:pt x="2357" y="438"/>
                  </a:lnTo>
                  <a:lnTo>
                    <a:pt x="2357" y="304"/>
                  </a:lnTo>
                  <a:lnTo>
                    <a:pt x="2391" y="304"/>
                  </a:lnTo>
                  <a:lnTo>
                    <a:pt x="2391" y="236"/>
                  </a:lnTo>
                  <a:lnTo>
                    <a:pt x="2391" y="203"/>
                  </a:lnTo>
                  <a:lnTo>
                    <a:pt x="2357" y="169"/>
                  </a:lnTo>
                  <a:lnTo>
                    <a:pt x="2324" y="169"/>
                  </a:lnTo>
                  <a:lnTo>
                    <a:pt x="1920" y="68"/>
                  </a:lnTo>
                  <a:lnTo>
                    <a:pt x="1482"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38" name="Google Shape;1838;p12"/>
            <p:cNvSpPr/>
            <p:nvPr/>
          </p:nvSpPr>
          <p:spPr>
            <a:xfrm>
              <a:off x="3756037" y="5086262"/>
              <a:ext cx="122360" cy="60359"/>
            </a:xfrm>
            <a:custGeom>
              <a:avLst/>
              <a:gdLst/>
              <a:ahLst/>
              <a:cxnLst/>
              <a:rect l="l" t="t" r="r" b="b"/>
              <a:pathLst>
                <a:path w="2459" h="1213" extrusionOk="0">
                  <a:moveTo>
                    <a:pt x="2391" y="0"/>
                  </a:moveTo>
                  <a:lnTo>
                    <a:pt x="2021" y="34"/>
                  </a:lnTo>
                  <a:lnTo>
                    <a:pt x="1650" y="68"/>
                  </a:lnTo>
                  <a:lnTo>
                    <a:pt x="1280" y="101"/>
                  </a:lnTo>
                  <a:lnTo>
                    <a:pt x="304" y="101"/>
                  </a:lnTo>
                  <a:lnTo>
                    <a:pt x="169" y="68"/>
                  </a:lnTo>
                  <a:lnTo>
                    <a:pt x="34" y="101"/>
                  </a:lnTo>
                  <a:lnTo>
                    <a:pt x="1" y="169"/>
                  </a:lnTo>
                  <a:lnTo>
                    <a:pt x="1" y="202"/>
                  </a:lnTo>
                  <a:lnTo>
                    <a:pt x="34" y="236"/>
                  </a:lnTo>
                  <a:lnTo>
                    <a:pt x="34" y="404"/>
                  </a:lnTo>
                  <a:lnTo>
                    <a:pt x="34" y="573"/>
                  </a:lnTo>
                  <a:lnTo>
                    <a:pt x="68" y="876"/>
                  </a:lnTo>
                  <a:lnTo>
                    <a:pt x="68" y="1212"/>
                  </a:lnTo>
                  <a:lnTo>
                    <a:pt x="203" y="1212"/>
                  </a:lnTo>
                  <a:lnTo>
                    <a:pt x="203" y="1010"/>
                  </a:lnTo>
                  <a:lnTo>
                    <a:pt x="203" y="808"/>
                  </a:lnTo>
                  <a:lnTo>
                    <a:pt x="169" y="606"/>
                  </a:lnTo>
                  <a:lnTo>
                    <a:pt x="135" y="404"/>
                  </a:lnTo>
                  <a:lnTo>
                    <a:pt x="169" y="202"/>
                  </a:lnTo>
                  <a:lnTo>
                    <a:pt x="270" y="236"/>
                  </a:lnTo>
                  <a:lnTo>
                    <a:pt x="506" y="270"/>
                  </a:lnTo>
                  <a:lnTo>
                    <a:pt x="1145" y="236"/>
                  </a:lnTo>
                  <a:lnTo>
                    <a:pt x="2324" y="169"/>
                  </a:lnTo>
                  <a:lnTo>
                    <a:pt x="2324" y="674"/>
                  </a:lnTo>
                  <a:lnTo>
                    <a:pt x="2290" y="1212"/>
                  </a:lnTo>
                  <a:lnTo>
                    <a:pt x="2459" y="1212"/>
                  </a:lnTo>
                  <a:lnTo>
                    <a:pt x="2459" y="640"/>
                  </a:lnTo>
                  <a:lnTo>
                    <a:pt x="2459" y="68"/>
                  </a:lnTo>
                  <a:lnTo>
                    <a:pt x="2425" y="34"/>
                  </a:lnTo>
                  <a:lnTo>
                    <a:pt x="2391"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39" name="Google Shape;1839;p12"/>
            <p:cNvSpPr/>
            <p:nvPr/>
          </p:nvSpPr>
          <p:spPr>
            <a:xfrm>
              <a:off x="2821195" y="4848360"/>
              <a:ext cx="135795" cy="83796"/>
            </a:xfrm>
            <a:custGeom>
              <a:avLst/>
              <a:gdLst/>
              <a:ahLst/>
              <a:cxnLst/>
              <a:rect l="l" t="t" r="r" b="b"/>
              <a:pathLst>
                <a:path w="2729" h="1684" extrusionOk="0">
                  <a:moveTo>
                    <a:pt x="1853" y="101"/>
                  </a:moveTo>
                  <a:lnTo>
                    <a:pt x="2324" y="135"/>
                  </a:lnTo>
                  <a:lnTo>
                    <a:pt x="2391" y="169"/>
                  </a:lnTo>
                  <a:lnTo>
                    <a:pt x="2459" y="169"/>
                  </a:lnTo>
                  <a:lnTo>
                    <a:pt x="2492" y="202"/>
                  </a:lnTo>
                  <a:lnTo>
                    <a:pt x="2492" y="270"/>
                  </a:lnTo>
                  <a:lnTo>
                    <a:pt x="2526" y="404"/>
                  </a:lnTo>
                  <a:lnTo>
                    <a:pt x="2492" y="539"/>
                  </a:lnTo>
                  <a:lnTo>
                    <a:pt x="2492" y="1010"/>
                  </a:lnTo>
                  <a:lnTo>
                    <a:pt x="2526" y="1246"/>
                  </a:lnTo>
                  <a:lnTo>
                    <a:pt x="2560" y="1448"/>
                  </a:lnTo>
                  <a:lnTo>
                    <a:pt x="1449" y="1515"/>
                  </a:lnTo>
                  <a:lnTo>
                    <a:pt x="304" y="1515"/>
                  </a:lnTo>
                  <a:lnTo>
                    <a:pt x="237" y="707"/>
                  </a:lnTo>
                  <a:lnTo>
                    <a:pt x="237" y="303"/>
                  </a:lnTo>
                  <a:lnTo>
                    <a:pt x="237" y="236"/>
                  </a:lnTo>
                  <a:lnTo>
                    <a:pt x="641" y="202"/>
                  </a:lnTo>
                  <a:lnTo>
                    <a:pt x="1045" y="169"/>
                  </a:lnTo>
                  <a:lnTo>
                    <a:pt x="1449" y="135"/>
                  </a:lnTo>
                  <a:lnTo>
                    <a:pt x="1853" y="101"/>
                  </a:lnTo>
                  <a:close/>
                  <a:moveTo>
                    <a:pt x="1146" y="0"/>
                  </a:moveTo>
                  <a:lnTo>
                    <a:pt x="708" y="68"/>
                  </a:lnTo>
                  <a:lnTo>
                    <a:pt x="237" y="101"/>
                  </a:lnTo>
                  <a:lnTo>
                    <a:pt x="237" y="34"/>
                  </a:lnTo>
                  <a:lnTo>
                    <a:pt x="169" y="34"/>
                  </a:lnTo>
                  <a:lnTo>
                    <a:pt x="169" y="101"/>
                  </a:lnTo>
                  <a:lnTo>
                    <a:pt x="35" y="101"/>
                  </a:lnTo>
                  <a:lnTo>
                    <a:pt x="1" y="169"/>
                  </a:lnTo>
                  <a:lnTo>
                    <a:pt x="35" y="202"/>
                  </a:lnTo>
                  <a:lnTo>
                    <a:pt x="68" y="236"/>
                  </a:lnTo>
                  <a:lnTo>
                    <a:pt x="136" y="236"/>
                  </a:lnTo>
                  <a:lnTo>
                    <a:pt x="102" y="573"/>
                  </a:lnTo>
                  <a:lnTo>
                    <a:pt x="102" y="909"/>
                  </a:lnTo>
                  <a:lnTo>
                    <a:pt x="169" y="1583"/>
                  </a:lnTo>
                  <a:lnTo>
                    <a:pt x="203" y="1650"/>
                  </a:lnTo>
                  <a:lnTo>
                    <a:pt x="237" y="1684"/>
                  </a:lnTo>
                  <a:lnTo>
                    <a:pt x="1449" y="1684"/>
                  </a:lnTo>
                  <a:lnTo>
                    <a:pt x="2661" y="1583"/>
                  </a:lnTo>
                  <a:lnTo>
                    <a:pt x="2694" y="1583"/>
                  </a:lnTo>
                  <a:lnTo>
                    <a:pt x="2728" y="1515"/>
                  </a:lnTo>
                  <a:lnTo>
                    <a:pt x="2661" y="1145"/>
                  </a:lnTo>
                  <a:lnTo>
                    <a:pt x="2627" y="808"/>
                  </a:lnTo>
                  <a:lnTo>
                    <a:pt x="2627" y="438"/>
                  </a:lnTo>
                  <a:lnTo>
                    <a:pt x="2627" y="101"/>
                  </a:lnTo>
                  <a:lnTo>
                    <a:pt x="2593" y="34"/>
                  </a:lnTo>
                  <a:lnTo>
                    <a:pt x="2560" y="34"/>
                  </a:lnTo>
                  <a:lnTo>
                    <a:pt x="1853"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40" name="Google Shape;1840;p12"/>
            <p:cNvSpPr/>
            <p:nvPr/>
          </p:nvSpPr>
          <p:spPr>
            <a:xfrm>
              <a:off x="3880039" y="4848360"/>
              <a:ext cx="135745" cy="83796"/>
            </a:xfrm>
            <a:custGeom>
              <a:avLst/>
              <a:gdLst/>
              <a:ahLst/>
              <a:cxnLst/>
              <a:rect l="l" t="t" r="r" b="b"/>
              <a:pathLst>
                <a:path w="2728" h="1684" extrusionOk="0">
                  <a:moveTo>
                    <a:pt x="1852" y="101"/>
                  </a:moveTo>
                  <a:lnTo>
                    <a:pt x="2323" y="135"/>
                  </a:lnTo>
                  <a:lnTo>
                    <a:pt x="2391" y="169"/>
                  </a:lnTo>
                  <a:lnTo>
                    <a:pt x="2458" y="169"/>
                  </a:lnTo>
                  <a:lnTo>
                    <a:pt x="2492" y="202"/>
                  </a:lnTo>
                  <a:lnTo>
                    <a:pt x="2492" y="270"/>
                  </a:lnTo>
                  <a:lnTo>
                    <a:pt x="2525" y="404"/>
                  </a:lnTo>
                  <a:lnTo>
                    <a:pt x="2492" y="539"/>
                  </a:lnTo>
                  <a:lnTo>
                    <a:pt x="2492" y="1010"/>
                  </a:lnTo>
                  <a:lnTo>
                    <a:pt x="2525" y="1246"/>
                  </a:lnTo>
                  <a:lnTo>
                    <a:pt x="2559" y="1448"/>
                  </a:lnTo>
                  <a:lnTo>
                    <a:pt x="1448" y="1515"/>
                  </a:lnTo>
                  <a:lnTo>
                    <a:pt x="303" y="1515"/>
                  </a:lnTo>
                  <a:lnTo>
                    <a:pt x="236" y="707"/>
                  </a:lnTo>
                  <a:lnTo>
                    <a:pt x="236" y="303"/>
                  </a:lnTo>
                  <a:lnTo>
                    <a:pt x="236" y="236"/>
                  </a:lnTo>
                  <a:lnTo>
                    <a:pt x="640" y="202"/>
                  </a:lnTo>
                  <a:lnTo>
                    <a:pt x="1044" y="169"/>
                  </a:lnTo>
                  <a:lnTo>
                    <a:pt x="1448" y="135"/>
                  </a:lnTo>
                  <a:lnTo>
                    <a:pt x="1852" y="101"/>
                  </a:lnTo>
                  <a:close/>
                  <a:moveTo>
                    <a:pt x="1145" y="0"/>
                  </a:moveTo>
                  <a:lnTo>
                    <a:pt x="707" y="68"/>
                  </a:lnTo>
                  <a:lnTo>
                    <a:pt x="236" y="101"/>
                  </a:lnTo>
                  <a:lnTo>
                    <a:pt x="236" y="34"/>
                  </a:lnTo>
                  <a:lnTo>
                    <a:pt x="169" y="34"/>
                  </a:lnTo>
                  <a:lnTo>
                    <a:pt x="169" y="101"/>
                  </a:lnTo>
                  <a:lnTo>
                    <a:pt x="34" y="101"/>
                  </a:lnTo>
                  <a:lnTo>
                    <a:pt x="0" y="169"/>
                  </a:lnTo>
                  <a:lnTo>
                    <a:pt x="34" y="202"/>
                  </a:lnTo>
                  <a:lnTo>
                    <a:pt x="68" y="236"/>
                  </a:lnTo>
                  <a:lnTo>
                    <a:pt x="135" y="236"/>
                  </a:lnTo>
                  <a:lnTo>
                    <a:pt x="101" y="573"/>
                  </a:lnTo>
                  <a:lnTo>
                    <a:pt x="101" y="909"/>
                  </a:lnTo>
                  <a:lnTo>
                    <a:pt x="169" y="1583"/>
                  </a:lnTo>
                  <a:lnTo>
                    <a:pt x="202" y="1650"/>
                  </a:lnTo>
                  <a:lnTo>
                    <a:pt x="236" y="1684"/>
                  </a:lnTo>
                  <a:lnTo>
                    <a:pt x="1448" y="1684"/>
                  </a:lnTo>
                  <a:lnTo>
                    <a:pt x="2660" y="1583"/>
                  </a:lnTo>
                  <a:lnTo>
                    <a:pt x="2694" y="1583"/>
                  </a:lnTo>
                  <a:lnTo>
                    <a:pt x="2727" y="1515"/>
                  </a:lnTo>
                  <a:lnTo>
                    <a:pt x="2660" y="1145"/>
                  </a:lnTo>
                  <a:lnTo>
                    <a:pt x="2626" y="808"/>
                  </a:lnTo>
                  <a:lnTo>
                    <a:pt x="2626" y="438"/>
                  </a:lnTo>
                  <a:lnTo>
                    <a:pt x="2626" y="101"/>
                  </a:lnTo>
                  <a:lnTo>
                    <a:pt x="2593" y="34"/>
                  </a:lnTo>
                  <a:lnTo>
                    <a:pt x="2559" y="34"/>
                  </a:lnTo>
                  <a:lnTo>
                    <a:pt x="1852"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41" name="Google Shape;1841;p12"/>
            <p:cNvSpPr/>
            <p:nvPr/>
          </p:nvSpPr>
          <p:spPr>
            <a:xfrm>
              <a:off x="4397692" y="5030979"/>
              <a:ext cx="48616" cy="23487"/>
            </a:xfrm>
            <a:custGeom>
              <a:avLst/>
              <a:gdLst/>
              <a:ahLst/>
              <a:cxnLst/>
              <a:rect l="l" t="t" r="r" b="b"/>
              <a:pathLst>
                <a:path w="977" h="472" extrusionOk="0">
                  <a:moveTo>
                    <a:pt x="371" y="0"/>
                  </a:moveTo>
                  <a:lnTo>
                    <a:pt x="270" y="34"/>
                  </a:lnTo>
                  <a:lnTo>
                    <a:pt x="169" y="101"/>
                  </a:lnTo>
                  <a:lnTo>
                    <a:pt x="68" y="135"/>
                  </a:lnTo>
                  <a:lnTo>
                    <a:pt x="1" y="202"/>
                  </a:lnTo>
                  <a:lnTo>
                    <a:pt x="1" y="236"/>
                  </a:lnTo>
                  <a:lnTo>
                    <a:pt x="1" y="303"/>
                  </a:lnTo>
                  <a:lnTo>
                    <a:pt x="34" y="371"/>
                  </a:lnTo>
                  <a:lnTo>
                    <a:pt x="102" y="404"/>
                  </a:lnTo>
                  <a:lnTo>
                    <a:pt x="270" y="472"/>
                  </a:lnTo>
                  <a:lnTo>
                    <a:pt x="337" y="472"/>
                  </a:lnTo>
                  <a:lnTo>
                    <a:pt x="371" y="438"/>
                  </a:lnTo>
                  <a:lnTo>
                    <a:pt x="337" y="371"/>
                  </a:lnTo>
                  <a:lnTo>
                    <a:pt x="304" y="337"/>
                  </a:lnTo>
                  <a:lnTo>
                    <a:pt x="708" y="337"/>
                  </a:lnTo>
                  <a:lnTo>
                    <a:pt x="910" y="303"/>
                  </a:lnTo>
                  <a:lnTo>
                    <a:pt x="943" y="270"/>
                  </a:lnTo>
                  <a:lnTo>
                    <a:pt x="977" y="236"/>
                  </a:lnTo>
                  <a:lnTo>
                    <a:pt x="943" y="202"/>
                  </a:lnTo>
                  <a:lnTo>
                    <a:pt x="910" y="169"/>
                  </a:lnTo>
                  <a:lnTo>
                    <a:pt x="506" y="202"/>
                  </a:lnTo>
                  <a:lnTo>
                    <a:pt x="236" y="202"/>
                  </a:lnTo>
                  <a:lnTo>
                    <a:pt x="304" y="169"/>
                  </a:lnTo>
                  <a:lnTo>
                    <a:pt x="405" y="101"/>
                  </a:lnTo>
                  <a:lnTo>
                    <a:pt x="438" y="68"/>
                  </a:lnTo>
                  <a:lnTo>
                    <a:pt x="438" y="34"/>
                  </a:lnTo>
                  <a:lnTo>
                    <a:pt x="405"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42" name="Google Shape;1842;p12"/>
            <p:cNvSpPr/>
            <p:nvPr/>
          </p:nvSpPr>
          <p:spPr>
            <a:xfrm>
              <a:off x="4332357" y="4850051"/>
              <a:ext cx="135745" cy="83796"/>
            </a:xfrm>
            <a:custGeom>
              <a:avLst/>
              <a:gdLst/>
              <a:ahLst/>
              <a:cxnLst/>
              <a:rect l="l" t="t" r="r" b="b"/>
              <a:pathLst>
                <a:path w="2728" h="1684" extrusionOk="0">
                  <a:moveTo>
                    <a:pt x="236" y="135"/>
                  </a:moveTo>
                  <a:lnTo>
                    <a:pt x="640" y="168"/>
                  </a:lnTo>
                  <a:lnTo>
                    <a:pt x="1785" y="202"/>
                  </a:lnTo>
                  <a:lnTo>
                    <a:pt x="2189" y="202"/>
                  </a:lnTo>
                  <a:lnTo>
                    <a:pt x="2391" y="236"/>
                  </a:lnTo>
                  <a:lnTo>
                    <a:pt x="2492" y="236"/>
                  </a:lnTo>
                  <a:lnTo>
                    <a:pt x="2559" y="269"/>
                  </a:lnTo>
                  <a:lnTo>
                    <a:pt x="2593" y="404"/>
                  </a:lnTo>
                  <a:lnTo>
                    <a:pt x="2593" y="539"/>
                  </a:lnTo>
                  <a:lnTo>
                    <a:pt x="2593" y="808"/>
                  </a:lnTo>
                  <a:lnTo>
                    <a:pt x="2593" y="1414"/>
                  </a:lnTo>
                  <a:lnTo>
                    <a:pt x="2559" y="1448"/>
                  </a:lnTo>
                  <a:lnTo>
                    <a:pt x="2492" y="1515"/>
                  </a:lnTo>
                  <a:lnTo>
                    <a:pt x="2290" y="1549"/>
                  </a:lnTo>
                  <a:lnTo>
                    <a:pt x="1617" y="1549"/>
                  </a:lnTo>
                  <a:lnTo>
                    <a:pt x="910" y="1481"/>
                  </a:lnTo>
                  <a:lnTo>
                    <a:pt x="472" y="1448"/>
                  </a:lnTo>
                  <a:lnTo>
                    <a:pt x="371" y="1414"/>
                  </a:lnTo>
                  <a:lnTo>
                    <a:pt x="304" y="1313"/>
                  </a:lnTo>
                  <a:lnTo>
                    <a:pt x="236" y="1178"/>
                  </a:lnTo>
                  <a:lnTo>
                    <a:pt x="236" y="1044"/>
                  </a:lnTo>
                  <a:lnTo>
                    <a:pt x="203" y="707"/>
                  </a:lnTo>
                  <a:lnTo>
                    <a:pt x="203" y="438"/>
                  </a:lnTo>
                  <a:lnTo>
                    <a:pt x="236" y="303"/>
                  </a:lnTo>
                  <a:lnTo>
                    <a:pt x="203" y="135"/>
                  </a:lnTo>
                  <a:close/>
                  <a:moveTo>
                    <a:pt x="236" y="0"/>
                  </a:moveTo>
                  <a:lnTo>
                    <a:pt x="34" y="34"/>
                  </a:lnTo>
                  <a:lnTo>
                    <a:pt x="1" y="67"/>
                  </a:lnTo>
                  <a:lnTo>
                    <a:pt x="1" y="101"/>
                  </a:lnTo>
                  <a:lnTo>
                    <a:pt x="1" y="135"/>
                  </a:lnTo>
                  <a:lnTo>
                    <a:pt x="34" y="168"/>
                  </a:lnTo>
                  <a:lnTo>
                    <a:pt x="102" y="168"/>
                  </a:lnTo>
                  <a:lnTo>
                    <a:pt x="102" y="202"/>
                  </a:lnTo>
                  <a:lnTo>
                    <a:pt x="102" y="303"/>
                  </a:lnTo>
                  <a:lnTo>
                    <a:pt x="68" y="471"/>
                  </a:lnTo>
                  <a:lnTo>
                    <a:pt x="68" y="673"/>
                  </a:lnTo>
                  <a:lnTo>
                    <a:pt x="102" y="1111"/>
                  </a:lnTo>
                  <a:lnTo>
                    <a:pt x="203" y="1549"/>
                  </a:lnTo>
                  <a:lnTo>
                    <a:pt x="236" y="1582"/>
                  </a:lnTo>
                  <a:lnTo>
                    <a:pt x="573" y="1582"/>
                  </a:lnTo>
                  <a:lnTo>
                    <a:pt x="876" y="1616"/>
                  </a:lnTo>
                  <a:lnTo>
                    <a:pt x="1482" y="1683"/>
                  </a:lnTo>
                  <a:lnTo>
                    <a:pt x="2357" y="1683"/>
                  </a:lnTo>
                  <a:lnTo>
                    <a:pt x="2660" y="1616"/>
                  </a:lnTo>
                  <a:lnTo>
                    <a:pt x="2694" y="1582"/>
                  </a:lnTo>
                  <a:lnTo>
                    <a:pt x="2728" y="1549"/>
                  </a:lnTo>
                  <a:lnTo>
                    <a:pt x="2728" y="909"/>
                  </a:lnTo>
                  <a:lnTo>
                    <a:pt x="2728" y="572"/>
                  </a:lnTo>
                  <a:lnTo>
                    <a:pt x="2660" y="269"/>
                  </a:lnTo>
                  <a:lnTo>
                    <a:pt x="2627" y="168"/>
                  </a:lnTo>
                  <a:lnTo>
                    <a:pt x="2526" y="135"/>
                  </a:lnTo>
                  <a:lnTo>
                    <a:pt x="2425" y="101"/>
                  </a:lnTo>
                  <a:lnTo>
                    <a:pt x="1650" y="101"/>
                  </a:lnTo>
                  <a:lnTo>
                    <a:pt x="977" y="34"/>
                  </a:lnTo>
                  <a:lnTo>
                    <a:pt x="506"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43" name="Google Shape;1843;p12"/>
            <p:cNvSpPr/>
            <p:nvPr/>
          </p:nvSpPr>
          <p:spPr>
            <a:xfrm>
              <a:off x="4260304" y="4945541"/>
              <a:ext cx="206106" cy="129028"/>
            </a:xfrm>
            <a:custGeom>
              <a:avLst/>
              <a:gdLst/>
              <a:ahLst/>
              <a:cxnLst/>
              <a:rect l="l" t="t" r="r" b="b"/>
              <a:pathLst>
                <a:path w="4142" h="2593" extrusionOk="0">
                  <a:moveTo>
                    <a:pt x="2661" y="135"/>
                  </a:moveTo>
                  <a:lnTo>
                    <a:pt x="3772" y="168"/>
                  </a:lnTo>
                  <a:lnTo>
                    <a:pt x="3873" y="168"/>
                  </a:lnTo>
                  <a:lnTo>
                    <a:pt x="3940" y="269"/>
                  </a:lnTo>
                  <a:lnTo>
                    <a:pt x="3974" y="404"/>
                  </a:lnTo>
                  <a:lnTo>
                    <a:pt x="4007" y="539"/>
                  </a:lnTo>
                  <a:lnTo>
                    <a:pt x="4007" y="842"/>
                  </a:lnTo>
                  <a:lnTo>
                    <a:pt x="4007" y="1044"/>
                  </a:lnTo>
                  <a:lnTo>
                    <a:pt x="4007" y="1751"/>
                  </a:lnTo>
                  <a:lnTo>
                    <a:pt x="3974" y="2189"/>
                  </a:lnTo>
                  <a:lnTo>
                    <a:pt x="3940" y="2323"/>
                  </a:lnTo>
                  <a:lnTo>
                    <a:pt x="3873" y="2357"/>
                  </a:lnTo>
                  <a:lnTo>
                    <a:pt x="3267" y="2424"/>
                  </a:lnTo>
                  <a:lnTo>
                    <a:pt x="2021" y="2424"/>
                  </a:lnTo>
                  <a:lnTo>
                    <a:pt x="1415" y="2357"/>
                  </a:lnTo>
                  <a:lnTo>
                    <a:pt x="809" y="2323"/>
                  </a:lnTo>
                  <a:lnTo>
                    <a:pt x="506" y="2323"/>
                  </a:lnTo>
                  <a:lnTo>
                    <a:pt x="203" y="2357"/>
                  </a:lnTo>
                  <a:lnTo>
                    <a:pt x="169" y="1616"/>
                  </a:lnTo>
                  <a:lnTo>
                    <a:pt x="135" y="875"/>
                  </a:lnTo>
                  <a:lnTo>
                    <a:pt x="203" y="539"/>
                  </a:lnTo>
                  <a:lnTo>
                    <a:pt x="203" y="370"/>
                  </a:lnTo>
                  <a:lnTo>
                    <a:pt x="203" y="202"/>
                  </a:lnTo>
                  <a:lnTo>
                    <a:pt x="270" y="202"/>
                  </a:lnTo>
                  <a:lnTo>
                    <a:pt x="371" y="168"/>
                  </a:lnTo>
                  <a:lnTo>
                    <a:pt x="775" y="168"/>
                  </a:lnTo>
                  <a:lnTo>
                    <a:pt x="1415" y="135"/>
                  </a:lnTo>
                  <a:close/>
                  <a:moveTo>
                    <a:pt x="540" y="0"/>
                  </a:moveTo>
                  <a:lnTo>
                    <a:pt x="371" y="34"/>
                  </a:lnTo>
                  <a:lnTo>
                    <a:pt x="203" y="67"/>
                  </a:lnTo>
                  <a:lnTo>
                    <a:pt x="169" y="101"/>
                  </a:lnTo>
                  <a:lnTo>
                    <a:pt x="135" y="101"/>
                  </a:lnTo>
                  <a:lnTo>
                    <a:pt x="102" y="135"/>
                  </a:lnTo>
                  <a:lnTo>
                    <a:pt x="102" y="168"/>
                  </a:lnTo>
                  <a:lnTo>
                    <a:pt x="135" y="202"/>
                  </a:lnTo>
                  <a:lnTo>
                    <a:pt x="169" y="202"/>
                  </a:lnTo>
                  <a:lnTo>
                    <a:pt x="102" y="269"/>
                  </a:lnTo>
                  <a:lnTo>
                    <a:pt x="68" y="337"/>
                  </a:lnTo>
                  <a:lnTo>
                    <a:pt x="34" y="572"/>
                  </a:lnTo>
                  <a:lnTo>
                    <a:pt x="1" y="1010"/>
                  </a:lnTo>
                  <a:lnTo>
                    <a:pt x="1" y="1717"/>
                  </a:lnTo>
                  <a:lnTo>
                    <a:pt x="68" y="2458"/>
                  </a:lnTo>
                  <a:lnTo>
                    <a:pt x="102" y="2492"/>
                  </a:lnTo>
                  <a:lnTo>
                    <a:pt x="169" y="2525"/>
                  </a:lnTo>
                  <a:lnTo>
                    <a:pt x="641" y="2492"/>
                  </a:lnTo>
                  <a:lnTo>
                    <a:pt x="1146" y="2492"/>
                  </a:lnTo>
                  <a:lnTo>
                    <a:pt x="2122" y="2559"/>
                  </a:lnTo>
                  <a:lnTo>
                    <a:pt x="2593" y="2593"/>
                  </a:lnTo>
                  <a:lnTo>
                    <a:pt x="3065" y="2559"/>
                  </a:lnTo>
                  <a:lnTo>
                    <a:pt x="4007" y="2492"/>
                  </a:lnTo>
                  <a:lnTo>
                    <a:pt x="4041" y="2458"/>
                  </a:lnTo>
                  <a:lnTo>
                    <a:pt x="4075" y="2424"/>
                  </a:lnTo>
                  <a:lnTo>
                    <a:pt x="4108" y="1987"/>
                  </a:lnTo>
                  <a:lnTo>
                    <a:pt x="4142" y="1515"/>
                  </a:lnTo>
                  <a:lnTo>
                    <a:pt x="4142" y="606"/>
                  </a:lnTo>
                  <a:lnTo>
                    <a:pt x="4108" y="404"/>
                  </a:lnTo>
                  <a:lnTo>
                    <a:pt x="4041" y="236"/>
                  </a:lnTo>
                  <a:lnTo>
                    <a:pt x="4007" y="135"/>
                  </a:lnTo>
                  <a:lnTo>
                    <a:pt x="3940" y="101"/>
                  </a:lnTo>
                  <a:lnTo>
                    <a:pt x="3873" y="34"/>
                  </a:lnTo>
                  <a:lnTo>
                    <a:pt x="3772" y="34"/>
                  </a:lnTo>
                  <a:lnTo>
                    <a:pt x="2863" y="0"/>
                  </a:lnTo>
                  <a:lnTo>
                    <a:pt x="1920" y="0"/>
                  </a:lnTo>
                  <a:lnTo>
                    <a:pt x="910" y="34"/>
                  </a:lnTo>
                  <a:lnTo>
                    <a:pt x="540"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44" name="Google Shape;1844;p12"/>
            <p:cNvSpPr/>
            <p:nvPr/>
          </p:nvSpPr>
          <p:spPr>
            <a:xfrm>
              <a:off x="2576625" y="5015902"/>
              <a:ext cx="18461" cy="35230"/>
            </a:xfrm>
            <a:custGeom>
              <a:avLst/>
              <a:gdLst/>
              <a:ahLst/>
              <a:cxnLst/>
              <a:rect l="l" t="t" r="r" b="b"/>
              <a:pathLst>
                <a:path w="371" h="708" extrusionOk="0">
                  <a:moveTo>
                    <a:pt x="303" y="0"/>
                  </a:moveTo>
                  <a:lnTo>
                    <a:pt x="270" y="34"/>
                  </a:lnTo>
                  <a:lnTo>
                    <a:pt x="135" y="135"/>
                  </a:lnTo>
                  <a:lnTo>
                    <a:pt x="0" y="270"/>
                  </a:lnTo>
                  <a:lnTo>
                    <a:pt x="0" y="337"/>
                  </a:lnTo>
                  <a:lnTo>
                    <a:pt x="34" y="371"/>
                  </a:lnTo>
                  <a:lnTo>
                    <a:pt x="68" y="371"/>
                  </a:lnTo>
                  <a:lnTo>
                    <a:pt x="202" y="270"/>
                  </a:lnTo>
                  <a:lnTo>
                    <a:pt x="202" y="270"/>
                  </a:lnTo>
                  <a:lnTo>
                    <a:pt x="169" y="640"/>
                  </a:lnTo>
                  <a:lnTo>
                    <a:pt x="202" y="674"/>
                  </a:lnTo>
                  <a:lnTo>
                    <a:pt x="236" y="707"/>
                  </a:lnTo>
                  <a:lnTo>
                    <a:pt x="303" y="674"/>
                  </a:lnTo>
                  <a:lnTo>
                    <a:pt x="303" y="640"/>
                  </a:lnTo>
                  <a:lnTo>
                    <a:pt x="337" y="371"/>
                  </a:lnTo>
                  <a:lnTo>
                    <a:pt x="371" y="101"/>
                  </a:lnTo>
                  <a:lnTo>
                    <a:pt x="371" y="34"/>
                  </a:lnTo>
                  <a:lnTo>
                    <a:pt x="337"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45" name="Google Shape;1845;p12"/>
            <p:cNvSpPr/>
            <p:nvPr/>
          </p:nvSpPr>
          <p:spPr>
            <a:xfrm>
              <a:off x="4037479" y="4853385"/>
              <a:ext cx="132411" cy="82154"/>
            </a:xfrm>
            <a:custGeom>
              <a:avLst/>
              <a:gdLst/>
              <a:ahLst/>
              <a:cxnLst/>
              <a:rect l="l" t="t" r="r" b="b"/>
              <a:pathLst>
                <a:path w="2661" h="1651" extrusionOk="0">
                  <a:moveTo>
                    <a:pt x="944" y="135"/>
                  </a:moveTo>
                  <a:lnTo>
                    <a:pt x="1954" y="169"/>
                  </a:lnTo>
                  <a:lnTo>
                    <a:pt x="2257" y="169"/>
                  </a:lnTo>
                  <a:lnTo>
                    <a:pt x="2358" y="202"/>
                  </a:lnTo>
                  <a:lnTo>
                    <a:pt x="2425" y="236"/>
                  </a:lnTo>
                  <a:lnTo>
                    <a:pt x="2459" y="303"/>
                  </a:lnTo>
                  <a:lnTo>
                    <a:pt x="2459" y="438"/>
                  </a:lnTo>
                  <a:lnTo>
                    <a:pt x="2459" y="573"/>
                  </a:lnTo>
                  <a:lnTo>
                    <a:pt x="2425" y="808"/>
                  </a:lnTo>
                  <a:lnTo>
                    <a:pt x="2425" y="1111"/>
                  </a:lnTo>
                  <a:lnTo>
                    <a:pt x="2459" y="1246"/>
                  </a:lnTo>
                  <a:lnTo>
                    <a:pt x="2492" y="1381"/>
                  </a:lnTo>
                  <a:lnTo>
                    <a:pt x="2021" y="1414"/>
                  </a:lnTo>
                  <a:lnTo>
                    <a:pt x="1516" y="1414"/>
                  </a:lnTo>
                  <a:lnTo>
                    <a:pt x="1112" y="1448"/>
                  </a:lnTo>
                  <a:lnTo>
                    <a:pt x="674" y="1515"/>
                  </a:lnTo>
                  <a:lnTo>
                    <a:pt x="439" y="1482"/>
                  </a:lnTo>
                  <a:lnTo>
                    <a:pt x="203" y="1414"/>
                  </a:lnTo>
                  <a:lnTo>
                    <a:pt x="169" y="1381"/>
                  </a:lnTo>
                  <a:lnTo>
                    <a:pt x="136" y="1347"/>
                  </a:lnTo>
                  <a:lnTo>
                    <a:pt x="136" y="1179"/>
                  </a:lnTo>
                  <a:lnTo>
                    <a:pt x="136" y="909"/>
                  </a:lnTo>
                  <a:lnTo>
                    <a:pt x="136" y="573"/>
                  </a:lnTo>
                  <a:lnTo>
                    <a:pt x="102" y="236"/>
                  </a:lnTo>
                  <a:lnTo>
                    <a:pt x="136" y="236"/>
                  </a:lnTo>
                  <a:lnTo>
                    <a:pt x="237" y="169"/>
                  </a:lnTo>
                  <a:lnTo>
                    <a:pt x="338" y="135"/>
                  </a:lnTo>
                  <a:close/>
                  <a:moveTo>
                    <a:pt x="304" y="0"/>
                  </a:moveTo>
                  <a:lnTo>
                    <a:pt x="203" y="34"/>
                  </a:lnTo>
                  <a:lnTo>
                    <a:pt x="102" y="101"/>
                  </a:lnTo>
                  <a:lnTo>
                    <a:pt x="102" y="34"/>
                  </a:lnTo>
                  <a:lnTo>
                    <a:pt x="35" y="34"/>
                  </a:lnTo>
                  <a:lnTo>
                    <a:pt x="1" y="337"/>
                  </a:lnTo>
                  <a:lnTo>
                    <a:pt x="1" y="640"/>
                  </a:lnTo>
                  <a:lnTo>
                    <a:pt x="1" y="1246"/>
                  </a:lnTo>
                  <a:lnTo>
                    <a:pt x="35" y="1347"/>
                  </a:lnTo>
                  <a:lnTo>
                    <a:pt x="68" y="1448"/>
                  </a:lnTo>
                  <a:lnTo>
                    <a:pt x="136" y="1515"/>
                  </a:lnTo>
                  <a:lnTo>
                    <a:pt x="237" y="1583"/>
                  </a:lnTo>
                  <a:lnTo>
                    <a:pt x="472" y="1616"/>
                  </a:lnTo>
                  <a:lnTo>
                    <a:pt x="742" y="1650"/>
                  </a:lnTo>
                  <a:lnTo>
                    <a:pt x="1280" y="1583"/>
                  </a:lnTo>
                  <a:lnTo>
                    <a:pt x="1617" y="1549"/>
                  </a:lnTo>
                  <a:lnTo>
                    <a:pt x="2257" y="1549"/>
                  </a:lnTo>
                  <a:lnTo>
                    <a:pt x="2593" y="1515"/>
                  </a:lnTo>
                  <a:lnTo>
                    <a:pt x="2661" y="1482"/>
                  </a:lnTo>
                  <a:lnTo>
                    <a:pt x="2661" y="1448"/>
                  </a:lnTo>
                  <a:lnTo>
                    <a:pt x="2661" y="1414"/>
                  </a:lnTo>
                  <a:lnTo>
                    <a:pt x="2593" y="1246"/>
                  </a:lnTo>
                  <a:lnTo>
                    <a:pt x="2560" y="1078"/>
                  </a:lnTo>
                  <a:lnTo>
                    <a:pt x="2560" y="741"/>
                  </a:lnTo>
                  <a:lnTo>
                    <a:pt x="2593" y="539"/>
                  </a:lnTo>
                  <a:lnTo>
                    <a:pt x="2593" y="371"/>
                  </a:lnTo>
                  <a:lnTo>
                    <a:pt x="2560" y="202"/>
                  </a:lnTo>
                  <a:lnTo>
                    <a:pt x="2459" y="34"/>
                  </a:lnTo>
                  <a:lnTo>
                    <a:pt x="2425" y="34"/>
                  </a:lnTo>
                  <a:lnTo>
                    <a:pt x="2391" y="0"/>
                  </a:lnTo>
                  <a:lnTo>
                    <a:pt x="2055" y="34"/>
                  </a:lnTo>
                  <a:lnTo>
                    <a:pt x="1718" y="34"/>
                  </a:lnTo>
                  <a:lnTo>
                    <a:pt x="1011"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46" name="Google Shape;1846;p12"/>
            <p:cNvSpPr/>
            <p:nvPr/>
          </p:nvSpPr>
          <p:spPr>
            <a:xfrm>
              <a:off x="2590011" y="5091288"/>
              <a:ext cx="129077" cy="55333"/>
            </a:xfrm>
            <a:custGeom>
              <a:avLst/>
              <a:gdLst/>
              <a:ahLst/>
              <a:cxnLst/>
              <a:rect l="l" t="t" r="r" b="b"/>
              <a:pathLst>
                <a:path w="2594" h="1112" extrusionOk="0">
                  <a:moveTo>
                    <a:pt x="472" y="0"/>
                  </a:moveTo>
                  <a:lnTo>
                    <a:pt x="102" y="68"/>
                  </a:lnTo>
                  <a:lnTo>
                    <a:pt x="102" y="101"/>
                  </a:lnTo>
                  <a:lnTo>
                    <a:pt x="68" y="101"/>
                  </a:lnTo>
                  <a:lnTo>
                    <a:pt x="34" y="135"/>
                  </a:lnTo>
                  <a:lnTo>
                    <a:pt x="1" y="640"/>
                  </a:lnTo>
                  <a:lnTo>
                    <a:pt x="1" y="1111"/>
                  </a:lnTo>
                  <a:lnTo>
                    <a:pt x="135" y="1111"/>
                  </a:lnTo>
                  <a:lnTo>
                    <a:pt x="135" y="741"/>
                  </a:lnTo>
                  <a:lnTo>
                    <a:pt x="169" y="472"/>
                  </a:lnTo>
                  <a:lnTo>
                    <a:pt x="135" y="337"/>
                  </a:lnTo>
                  <a:lnTo>
                    <a:pt x="102" y="202"/>
                  </a:lnTo>
                  <a:lnTo>
                    <a:pt x="135" y="202"/>
                  </a:lnTo>
                  <a:lnTo>
                    <a:pt x="438" y="169"/>
                  </a:lnTo>
                  <a:lnTo>
                    <a:pt x="741" y="135"/>
                  </a:lnTo>
                  <a:lnTo>
                    <a:pt x="2088" y="135"/>
                  </a:lnTo>
                  <a:lnTo>
                    <a:pt x="2223" y="169"/>
                  </a:lnTo>
                  <a:lnTo>
                    <a:pt x="2324" y="236"/>
                  </a:lnTo>
                  <a:lnTo>
                    <a:pt x="2391" y="337"/>
                  </a:lnTo>
                  <a:lnTo>
                    <a:pt x="2459" y="505"/>
                  </a:lnTo>
                  <a:lnTo>
                    <a:pt x="2459" y="707"/>
                  </a:lnTo>
                  <a:lnTo>
                    <a:pt x="2459" y="1111"/>
                  </a:lnTo>
                  <a:lnTo>
                    <a:pt x="2593" y="1111"/>
                  </a:lnTo>
                  <a:lnTo>
                    <a:pt x="2593" y="640"/>
                  </a:lnTo>
                  <a:lnTo>
                    <a:pt x="2560" y="404"/>
                  </a:lnTo>
                  <a:lnTo>
                    <a:pt x="2492" y="202"/>
                  </a:lnTo>
                  <a:lnTo>
                    <a:pt x="2425" y="135"/>
                  </a:lnTo>
                  <a:lnTo>
                    <a:pt x="2324" y="68"/>
                  </a:lnTo>
                  <a:lnTo>
                    <a:pt x="2223" y="34"/>
                  </a:lnTo>
                  <a:lnTo>
                    <a:pt x="2122"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47" name="Google Shape;1847;p12"/>
            <p:cNvSpPr/>
            <p:nvPr/>
          </p:nvSpPr>
          <p:spPr>
            <a:xfrm>
              <a:off x="2518008" y="4947183"/>
              <a:ext cx="124002" cy="129077"/>
            </a:xfrm>
            <a:custGeom>
              <a:avLst/>
              <a:gdLst/>
              <a:ahLst/>
              <a:cxnLst/>
              <a:rect l="l" t="t" r="r" b="b"/>
              <a:pathLst>
                <a:path w="2492" h="2594" extrusionOk="0">
                  <a:moveTo>
                    <a:pt x="2222" y="135"/>
                  </a:moveTo>
                  <a:lnTo>
                    <a:pt x="2289" y="169"/>
                  </a:lnTo>
                  <a:lnTo>
                    <a:pt x="2323" y="203"/>
                  </a:lnTo>
                  <a:lnTo>
                    <a:pt x="2357" y="236"/>
                  </a:lnTo>
                  <a:lnTo>
                    <a:pt x="2357" y="337"/>
                  </a:lnTo>
                  <a:lnTo>
                    <a:pt x="2357" y="842"/>
                  </a:lnTo>
                  <a:lnTo>
                    <a:pt x="2323" y="1348"/>
                  </a:lnTo>
                  <a:lnTo>
                    <a:pt x="2323" y="1853"/>
                  </a:lnTo>
                  <a:lnTo>
                    <a:pt x="2357" y="2358"/>
                  </a:lnTo>
                  <a:lnTo>
                    <a:pt x="2087" y="2425"/>
                  </a:lnTo>
                  <a:lnTo>
                    <a:pt x="1818" y="2459"/>
                  </a:lnTo>
                  <a:lnTo>
                    <a:pt x="1246" y="2425"/>
                  </a:lnTo>
                  <a:lnTo>
                    <a:pt x="707" y="2391"/>
                  </a:lnTo>
                  <a:lnTo>
                    <a:pt x="438" y="2358"/>
                  </a:lnTo>
                  <a:lnTo>
                    <a:pt x="269" y="2324"/>
                  </a:lnTo>
                  <a:lnTo>
                    <a:pt x="202" y="2257"/>
                  </a:lnTo>
                  <a:lnTo>
                    <a:pt x="135" y="2021"/>
                  </a:lnTo>
                  <a:lnTo>
                    <a:pt x="135" y="1752"/>
                  </a:lnTo>
                  <a:lnTo>
                    <a:pt x="135" y="1247"/>
                  </a:lnTo>
                  <a:lnTo>
                    <a:pt x="168" y="708"/>
                  </a:lnTo>
                  <a:lnTo>
                    <a:pt x="202" y="169"/>
                  </a:lnTo>
                  <a:lnTo>
                    <a:pt x="1279" y="169"/>
                  </a:lnTo>
                  <a:lnTo>
                    <a:pt x="1919" y="135"/>
                  </a:lnTo>
                  <a:close/>
                  <a:moveTo>
                    <a:pt x="135" y="1"/>
                  </a:moveTo>
                  <a:lnTo>
                    <a:pt x="101" y="34"/>
                  </a:lnTo>
                  <a:lnTo>
                    <a:pt x="67" y="68"/>
                  </a:lnTo>
                  <a:lnTo>
                    <a:pt x="67" y="102"/>
                  </a:lnTo>
                  <a:lnTo>
                    <a:pt x="101" y="135"/>
                  </a:lnTo>
                  <a:lnTo>
                    <a:pt x="34" y="438"/>
                  </a:lnTo>
                  <a:lnTo>
                    <a:pt x="0" y="741"/>
                  </a:lnTo>
                  <a:lnTo>
                    <a:pt x="0" y="1348"/>
                  </a:lnTo>
                  <a:lnTo>
                    <a:pt x="34" y="2021"/>
                  </a:lnTo>
                  <a:lnTo>
                    <a:pt x="34" y="2189"/>
                  </a:lnTo>
                  <a:lnTo>
                    <a:pt x="67" y="2290"/>
                  </a:lnTo>
                  <a:lnTo>
                    <a:pt x="101" y="2358"/>
                  </a:lnTo>
                  <a:lnTo>
                    <a:pt x="135" y="2391"/>
                  </a:lnTo>
                  <a:lnTo>
                    <a:pt x="168" y="2425"/>
                  </a:lnTo>
                  <a:lnTo>
                    <a:pt x="303" y="2459"/>
                  </a:lnTo>
                  <a:lnTo>
                    <a:pt x="673" y="2492"/>
                  </a:lnTo>
                  <a:lnTo>
                    <a:pt x="1044" y="2560"/>
                  </a:lnTo>
                  <a:lnTo>
                    <a:pt x="1751" y="2593"/>
                  </a:lnTo>
                  <a:lnTo>
                    <a:pt x="2121" y="2560"/>
                  </a:lnTo>
                  <a:lnTo>
                    <a:pt x="2289" y="2526"/>
                  </a:lnTo>
                  <a:lnTo>
                    <a:pt x="2458" y="2492"/>
                  </a:lnTo>
                  <a:lnTo>
                    <a:pt x="2491" y="2459"/>
                  </a:lnTo>
                  <a:lnTo>
                    <a:pt x="2491" y="2391"/>
                  </a:lnTo>
                  <a:lnTo>
                    <a:pt x="2458" y="2122"/>
                  </a:lnTo>
                  <a:lnTo>
                    <a:pt x="2458" y="1819"/>
                  </a:lnTo>
                  <a:lnTo>
                    <a:pt x="2458" y="1247"/>
                  </a:lnTo>
                  <a:lnTo>
                    <a:pt x="2491" y="674"/>
                  </a:lnTo>
                  <a:lnTo>
                    <a:pt x="2491" y="102"/>
                  </a:lnTo>
                  <a:lnTo>
                    <a:pt x="2491" y="68"/>
                  </a:lnTo>
                  <a:lnTo>
                    <a:pt x="2424" y="34"/>
                  </a:lnTo>
                  <a:lnTo>
                    <a:pt x="1852" y="1"/>
                  </a:lnTo>
                  <a:lnTo>
                    <a:pt x="1279" y="1"/>
                  </a:lnTo>
                  <a:lnTo>
                    <a:pt x="707" y="34"/>
                  </a:lnTo>
                  <a:lnTo>
                    <a:pt x="135"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48" name="Google Shape;1848;p12"/>
            <p:cNvSpPr/>
            <p:nvPr/>
          </p:nvSpPr>
          <p:spPr>
            <a:xfrm>
              <a:off x="3462851" y="5089596"/>
              <a:ext cx="124052" cy="57025"/>
            </a:xfrm>
            <a:custGeom>
              <a:avLst/>
              <a:gdLst/>
              <a:ahLst/>
              <a:cxnLst/>
              <a:rect l="l" t="t" r="r" b="b"/>
              <a:pathLst>
                <a:path w="2493" h="1146" extrusionOk="0">
                  <a:moveTo>
                    <a:pt x="169" y="1"/>
                  </a:moveTo>
                  <a:lnTo>
                    <a:pt x="102" y="34"/>
                  </a:lnTo>
                  <a:lnTo>
                    <a:pt x="102" y="68"/>
                  </a:lnTo>
                  <a:lnTo>
                    <a:pt x="102" y="102"/>
                  </a:lnTo>
                  <a:lnTo>
                    <a:pt x="102" y="135"/>
                  </a:lnTo>
                  <a:lnTo>
                    <a:pt x="68" y="371"/>
                  </a:lnTo>
                  <a:lnTo>
                    <a:pt x="35" y="640"/>
                  </a:lnTo>
                  <a:lnTo>
                    <a:pt x="1" y="1145"/>
                  </a:lnTo>
                  <a:lnTo>
                    <a:pt x="136" y="1145"/>
                  </a:lnTo>
                  <a:lnTo>
                    <a:pt x="203" y="169"/>
                  </a:lnTo>
                  <a:lnTo>
                    <a:pt x="1314" y="169"/>
                  </a:lnTo>
                  <a:lnTo>
                    <a:pt x="1920" y="135"/>
                  </a:lnTo>
                  <a:lnTo>
                    <a:pt x="2223" y="135"/>
                  </a:lnTo>
                  <a:lnTo>
                    <a:pt x="2290" y="169"/>
                  </a:lnTo>
                  <a:lnTo>
                    <a:pt x="2324" y="203"/>
                  </a:lnTo>
                  <a:lnTo>
                    <a:pt x="2358" y="236"/>
                  </a:lnTo>
                  <a:lnTo>
                    <a:pt x="2391" y="337"/>
                  </a:lnTo>
                  <a:lnTo>
                    <a:pt x="2358" y="1145"/>
                  </a:lnTo>
                  <a:lnTo>
                    <a:pt x="2459" y="1145"/>
                  </a:lnTo>
                  <a:lnTo>
                    <a:pt x="2492" y="640"/>
                  </a:lnTo>
                  <a:lnTo>
                    <a:pt x="2492" y="102"/>
                  </a:lnTo>
                  <a:lnTo>
                    <a:pt x="2492" y="68"/>
                  </a:lnTo>
                  <a:lnTo>
                    <a:pt x="2459" y="34"/>
                  </a:lnTo>
                  <a:lnTo>
                    <a:pt x="1886" y="1"/>
                  </a:lnTo>
                  <a:lnTo>
                    <a:pt x="1314" y="34"/>
                  </a:lnTo>
                  <a:lnTo>
                    <a:pt x="742" y="34"/>
                  </a:lnTo>
                  <a:lnTo>
                    <a:pt x="169"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49" name="Google Shape;1849;p12"/>
            <p:cNvSpPr/>
            <p:nvPr/>
          </p:nvSpPr>
          <p:spPr>
            <a:xfrm>
              <a:off x="2370569" y="5084570"/>
              <a:ext cx="211132" cy="62051"/>
            </a:xfrm>
            <a:custGeom>
              <a:avLst/>
              <a:gdLst/>
              <a:ahLst/>
              <a:cxnLst/>
              <a:rect l="l" t="t" r="r" b="b"/>
              <a:pathLst>
                <a:path w="4243" h="1247" extrusionOk="0">
                  <a:moveTo>
                    <a:pt x="3333" y="1"/>
                  </a:moveTo>
                  <a:lnTo>
                    <a:pt x="3098" y="34"/>
                  </a:lnTo>
                  <a:lnTo>
                    <a:pt x="2727" y="68"/>
                  </a:lnTo>
                  <a:lnTo>
                    <a:pt x="2155" y="102"/>
                  </a:lnTo>
                  <a:lnTo>
                    <a:pt x="1044" y="102"/>
                  </a:lnTo>
                  <a:lnTo>
                    <a:pt x="505" y="135"/>
                  </a:lnTo>
                  <a:lnTo>
                    <a:pt x="303" y="169"/>
                  </a:lnTo>
                  <a:lnTo>
                    <a:pt x="202" y="236"/>
                  </a:lnTo>
                  <a:lnTo>
                    <a:pt x="101" y="371"/>
                  </a:lnTo>
                  <a:lnTo>
                    <a:pt x="34" y="506"/>
                  </a:lnTo>
                  <a:lnTo>
                    <a:pt x="0" y="708"/>
                  </a:lnTo>
                  <a:lnTo>
                    <a:pt x="0" y="876"/>
                  </a:lnTo>
                  <a:lnTo>
                    <a:pt x="0" y="1246"/>
                  </a:lnTo>
                  <a:lnTo>
                    <a:pt x="169" y="1246"/>
                  </a:lnTo>
                  <a:lnTo>
                    <a:pt x="169" y="842"/>
                  </a:lnTo>
                  <a:lnTo>
                    <a:pt x="202" y="573"/>
                  </a:lnTo>
                  <a:lnTo>
                    <a:pt x="236" y="438"/>
                  </a:lnTo>
                  <a:lnTo>
                    <a:pt x="303" y="337"/>
                  </a:lnTo>
                  <a:lnTo>
                    <a:pt x="371" y="304"/>
                  </a:lnTo>
                  <a:lnTo>
                    <a:pt x="505" y="270"/>
                  </a:lnTo>
                  <a:lnTo>
                    <a:pt x="1650" y="270"/>
                  </a:lnTo>
                  <a:lnTo>
                    <a:pt x="2593" y="236"/>
                  </a:lnTo>
                  <a:lnTo>
                    <a:pt x="2963" y="203"/>
                  </a:lnTo>
                  <a:lnTo>
                    <a:pt x="3434" y="169"/>
                  </a:lnTo>
                  <a:lnTo>
                    <a:pt x="3636" y="203"/>
                  </a:lnTo>
                  <a:lnTo>
                    <a:pt x="3838" y="270"/>
                  </a:lnTo>
                  <a:lnTo>
                    <a:pt x="3973" y="371"/>
                  </a:lnTo>
                  <a:lnTo>
                    <a:pt x="4007" y="438"/>
                  </a:lnTo>
                  <a:lnTo>
                    <a:pt x="4040" y="539"/>
                  </a:lnTo>
                  <a:lnTo>
                    <a:pt x="4074" y="876"/>
                  </a:lnTo>
                  <a:lnTo>
                    <a:pt x="4040" y="1246"/>
                  </a:lnTo>
                  <a:lnTo>
                    <a:pt x="4242" y="1246"/>
                  </a:lnTo>
                  <a:lnTo>
                    <a:pt x="4242" y="842"/>
                  </a:lnTo>
                  <a:lnTo>
                    <a:pt x="4175" y="438"/>
                  </a:lnTo>
                  <a:lnTo>
                    <a:pt x="4175" y="337"/>
                  </a:lnTo>
                  <a:lnTo>
                    <a:pt x="4108" y="270"/>
                  </a:lnTo>
                  <a:lnTo>
                    <a:pt x="3973" y="135"/>
                  </a:lnTo>
                  <a:lnTo>
                    <a:pt x="3771" y="68"/>
                  </a:lnTo>
                  <a:lnTo>
                    <a:pt x="3569" y="34"/>
                  </a:lnTo>
                  <a:lnTo>
                    <a:pt x="3333"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50" name="Google Shape;1850;p12"/>
            <p:cNvSpPr/>
            <p:nvPr/>
          </p:nvSpPr>
          <p:spPr>
            <a:xfrm>
              <a:off x="3586853" y="5024261"/>
              <a:ext cx="23487" cy="26870"/>
            </a:xfrm>
            <a:custGeom>
              <a:avLst/>
              <a:gdLst/>
              <a:ahLst/>
              <a:cxnLst/>
              <a:rect l="l" t="t" r="r" b="b"/>
              <a:pathLst>
                <a:path w="472" h="540" extrusionOk="0">
                  <a:moveTo>
                    <a:pt x="303" y="102"/>
                  </a:moveTo>
                  <a:lnTo>
                    <a:pt x="337" y="169"/>
                  </a:lnTo>
                  <a:lnTo>
                    <a:pt x="303" y="203"/>
                  </a:lnTo>
                  <a:lnTo>
                    <a:pt x="169" y="135"/>
                  </a:lnTo>
                  <a:lnTo>
                    <a:pt x="236" y="102"/>
                  </a:lnTo>
                  <a:close/>
                  <a:moveTo>
                    <a:pt x="169" y="1"/>
                  </a:moveTo>
                  <a:lnTo>
                    <a:pt x="68" y="34"/>
                  </a:lnTo>
                  <a:lnTo>
                    <a:pt x="0" y="135"/>
                  </a:lnTo>
                  <a:lnTo>
                    <a:pt x="0" y="203"/>
                  </a:lnTo>
                  <a:lnTo>
                    <a:pt x="34" y="236"/>
                  </a:lnTo>
                  <a:lnTo>
                    <a:pt x="202" y="270"/>
                  </a:lnTo>
                  <a:lnTo>
                    <a:pt x="202" y="304"/>
                  </a:lnTo>
                  <a:lnTo>
                    <a:pt x="270" y="304"/>
                  </a:lnTo>
                  <a:lnTo>
                    <a:pt x="169" y="337"/>
                  </a:lnTo>
                  <a:lnTo>
                    <a:pt x="101" y="405"/>
                  </a:lnTo>
                  <a:lnTo>
                    <a:pt x="68" y="438"/>
                  </a:lnTo>
                  <a:lnTo>
                    <a:pt x="101" y="506"/>
                  </a:lnTo>
                  <a:lnTo>
                    <a:pt x="270" y="539"/>
                  </a:lnTo>
                  <a:lnTo>
                    <a:pt x="404" y="506"/>
                  </a:lnTo>
                  <a:lnTo>
                    <a:pt x="438" y="506"/>
                  </a:lnTo>
                  <a:lnTo>
                    <a:pt x="472" y="472"/>
                  </a:lnTo>
                  <a:lnTo>
                    <a:pt x="438" y="337"/>
                  </a:lnTo>
                  <a:lnTo>
                    <a:pt x="371" y="236"/>
                  </a:lnTo>
                  <a:lnTo>
                    <a:pt x="438" y="203"/>
                  </a:lnTo>
                  <a:lnTo>
                    <a:pt x="438" y="102"/>
                  </a:lnTo>
                  <a:lnTo>
                    <a:pt x="371" y="34"/>
                  </a:lnTo>
                  <a:lnTo>
                    <a:pt x="270"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51" name="Google Shape;1851;p12"/>
            <p:cNvSpPr/>
            <p:nvPr/>
          </p:nvSpPr>
          <p:spPr>
            <a:xfrm>
              <a:off x="3313770" y="5089596"/>
              <a:ext cx="124002" cy="57025"/>
            </a:xfrm>
            <a:custGeom>
              <a:avLst/>
              <a:gdLst/>
              <a:ahLst/>
              <a:cxnLst/>
              <a:rect l="l" t="t" r="r" b="b"/>
              <a:pathLst>
                <a:path w="2492" h="1146" extrusionOk="0">
                  <a:moveTo>
                    <a:pt x="1280" y="1"/>
                  </a:moveTo>
                  <a:lnTo>
                    <a:pt x="135" y="102"/>
                  </a:lnTo>
                  <a:lnTo>
                    <a:pt x="101" y="135"/>
                  </a:lnTo>
                  <a:lnTo>
                    <a:pt x="68" y="169"/>
                  </a:lnTo>
                  <a:lnTo>
                    <a:pt x="68" y="203"/>
                  </a:lnTo>
                  <a:lnTo>
                    <a:pt x="101" y="236"/>
                  </a:lnTo>
                  <a:lnTo>
                    <a:pt x="135" y="236"/>
                  </a:lnTo>
                  <a:lnTo>
                    <a:pt x="68" y="472"/>
                  </a:lnTo>
                  <a:lnTo>
                    <a:pt x="34" y="708"/>
                  </a:lnTo>
                  <a:lnTo>
                    <a:pt x="0" y="1145"/>
                  </a:lnTo>
                  <a:lnTo>
                    <a:pt x="135" y="1145"/>
                  </a:lnTo>
                  <a:lnTo>
                    <a:pt x="135" y="708"/>
                  </a:lnTo>
                  <a:lnTo>
                    <a:pt x="202" y="270"/>
                  </a:lnTo>
                  <a:lnTo>
                    <a:pt x="236" y="270"/>
                  </a:lnTo>
                  <a:lnTo>
                    <a:pt x="270" y="236"/>
                  </a:lnTo>
                  <a:lnTo>
                    <a:pt x="876" y="203"/>
                  </a:lnTo>
                  <a:lnTo>
                    <a:pt x="1515" y="135"/>
                  </a:lnTo>
                  <a:lnTo>
                    <a:pt x="1886" y="135"/>
                  </a:lnTo>
                  <a:lnTo>
                    <a:pt x="2290" y="169"/>
                  </a:lnTo>
                  <a:lnTo>
                    <a:pt x="2323" y="203"/>
                  </a:lnTo>
                  <a:lnTo>
                    <a:pt x="2357" y="270"/>
                  </a:lnTo>
                  <a:lnTo>
                    <a:pt x="2357" y="539"/>
                  </a:lnTo>
                  <a:lnTo>
                    <a:pt x="2357" y="1011"/>
                  </a:lnTo>
                  <a:lnTo>
                    <a:pt x="2357" y="1145"/>
                  </a:lnTo>
                  <a:lnTo>
                    <a:pt x="2492" y="1145"/>
                  </a:lnTo>
                  <a:lnTo>
                    <a:pt x="2492" y="102"/>
                  </a:lnTo>
                  <a:lnTo>
                    <a:pt x="2492" y="68"/>
                  </a:lnTo>
                  <a:lnTo>
                    <a:pt x="2458" y="34"/>
                  </a:lnTo>
                  <a:lnTo>
                    <a:pt x="2155"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52" name="Google Shape;1852;p12"/>
            <p:cNvSpPr/>
            <p:nvPr/>
          </p:nvSpPr>
          <p:spPr>
            <a:xfrm>
              <a:off x="3444439" y="5022569"/>
              <a:ext cx="18461" cy="30204"/>
            </a:xfrm>
            <a:custGeom>
              <a:avLst/>
              <a:gdLst/>
              <a:ahLst/>
              <a:cxnLst/>
              <a:rect l="l" t="t" r="r" b="b"/>
              <a:pathLst>
                <a:path w="371" h="607" extrusionOk="0">
                  <a:moveTo>
                    <a:pt x="169" y="1"/>
                  </a:moveTo>
                  <a:lnTo>
                    <a:pt x="0" y="68"/>
                  </a:lnTo>
                  <a:lnTo>
                    <a:pt x="0" y="102"/>
                  </a:lnTo>
                  <a:lnTo>
                    <a:pt x="34" y="136"/>
                  </a:lnTo>
                  <a:lnTo>
                    <a:pt x="236" y="136"/>
                  </a:lnTo>
                  <a:lnTo>
                    <a:pt x="68" y="439"/>
                  </a:lnTo>
                  <a:lnTo>
                    <a:pt x="34" y="573"/>
                  </a:lnTo>
                  <a:lnTo>
                    <a:pt x="68" y="607"/>
                  </a:lnTo>
                  <a:lnTo>
                    <a:pt x="169" y="607"/>
                  </a:lnTo>
                  <a:lnTo>
                    <a:pt x="202" y="540"/>
                  </a:lnTo>
                  <a:lnTo>
                    <a:pt x="236" y="439"/>
                  </a:lnTo>
                  <a:lnTo>
                    <a:pt x="303" y="270"/>
                  </a:lnTo>
                  <a:lnTo>
                    <a:pt x="371" y="68"/>
                  </a:lnTo>
                  <a:lnTo>
                    <a:pt x="371" y="35"/>
                  </a:lnTo>
                  <a:lnTo>
                    <a:pt x="303"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53" name="Google Shape;1853;p12"/>
            <p:cNvSpPr/>
            <p:nvPr/>
          </p:nvSpPr>
          <p:spPr>
            <a:xfrm>
              <a:off x="2866477" y="5020927"/>
              <a:ext cx="25179" cy="31846"/>
            </a:xfrm>
            <a:custGeom>
              <a:avLst/>
              <a:gdLst/>
              <a:ahLst/>
              <a:cxnLst/>
              <a:rect l="l" t="t" r="r" b="b"/>
              <a:pathLst>
                <a:path w="506" h="640" extrusionOk="0">
                  <a:moveTo>
                    <a:pt x="202" y="0"/>
                  </a:moveTo>
                  <a:lnTo>
                    <a:pt x="34" y="135"/>
                  </a:lnTo>
                  <a:lnTo>
                    <a:pt x="0" y="169"/>
                  </a:lnTo>
                  <a:lnTo>
                    <a:pt x="135" y="169"/>
                  </a:lnTo>
                  <a:lnTo>
                    <a:pt x="202" y="135"/>
                  </a:lnTo>
                  <a:lnTo>
                    <a:pt x="236" y="169"/>
                  </a:lnTo>
                  <a:lnTo>
                    <a:pt x="135" y="236"/>
                  </a:lnTo>
                  <a:lnTo>
                    <a:pt x="34" y="303"/>
                  </a:lnTo>
                  <a:lnTo>
                    <a:pt x="0" y="337"/>
                  </a:lnTo>
                  <a:lnTo>
                    <a:pt x="0" y="404"/>
                  </a:lnTo>
                  <a:lnTo>
                    <a:pt x="34" y="438"/>
                  </a:lnTo>
                  <a:lnTo>
                    <a:pt x="67" y="438"/>
                  </a:lnTo>
                  <a:lnTo>
                    <a:pt x="202" y="404"/>
                  </a:lnTo>
                  <a:lnTo>
                    <a:pt x="337" y="404"/>
                  </a:lnTo>
                  <a:lnTo>
                    <a:pt x="269" y="472"/>
                  </a:lnTo>
                  <a:lnTo>
                    <a:pt x="135" y="505"/>
                  </a:lnTo>
                  <a:lnTo>
                    <a:pt x="101" y="539"/>
                  </a:lnTo>
                  <a:lnTo>
                    <a:pt x="67" y="573"/>
                  </a:lnTo>
                  <a:lnTo>
                    <a:pt x="101" y="606"/>
                  </a:lnTo>
                  <a:lnTo>
                    <a:pt x="135" y="640"/>
                  </a:lnTo>
                  <a:lnTo>
                    <a:pt x="269" y="606"/>
                  </a:lnTo>
                  <a:lnTo>
                    <a:pt x="337" y="573"/>
                  </a:lnTo>
                  <a:lnTo>
                    <a:pt x="438" y="505"/>
                  </a:lnTo>
                  <a:lnTo>
                    <a:pt x="505" y="438"/>
                  </a:lnTo>
                  <a:lnTo>
                    <a:pt x="505" y="371"/>
                  </a:lnTo>
                  <a:lnTo>
                    <a:pt x="471" y="337"/>
                  </a:lnTo>
                  <a:lnTo>
                    <a:pt x="370" y="303"/>
                  </a:lnTo>
                  <a:lnTo>
                    <a:pt x="269" y="270"/>
                  </a:lnTo>
                  <a:lnTo>
                    <a:pt x="337" y="202"/>
                  </a:lnTo>
                  <a:lnTo>
                    <a:pt x="370" y="169"/>
                  </a:lnTo>
                  <a:lnTo>
                    <a:pt x="269" y="34"/>
                  </a:lnTo>
                  <a:lnTo>
                    <a:pt x="269"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54" name="Google Shape;1854;p12"/>
            <p:cNvSpPr/>
            <p:nvPr/>
          </p:nvSpPr>
          <p:spPr>
            <a:xfrm>
              <a:off x="2811144" y="4943849"/>
              <a:ext cx="122360" cy="127386"/>
            </a:xfrm>
            <a:custGeom>
              <a:avLst/>
              <a:gdLst/>
              <a:ahLst/>
              <a:cxnLst/>
              <a:rect l="l" t="t" r="r" b="b"/>
              <a:pathLst>
                <a:path w="2459" h="2560" extrusionOk="0">
                  <a:moveTo>
                    <a:pt x="2324" y="135"/>
                  </a:moveTo>
                  <a:lnTo>
                    <a:pt x="2324" y="707"/>
                  </a:lnTo>
                  <a:lnTo>
                    <a:pt x="2290" y="1280"/>
                  </a:lnTo>
                  <a:lnTo>
                    <a:pt x="2257" y="1819"/>
                  </a:lnTo>
                  <a:lnTo>
                    <a:pt x="2290" y="2391"/>
                  </a:lnTo>
                  <a:lnTo>
                    <a:pt x="1213" y="2391"/>
                  </a:lnTo>
                  <a:lnTo>
                    <a:pt x="169" y="2425"/>
                  </a:lnTo>
                  <a:lnTo>
                    <a:pt x="169" y="2054"/>
                  </a:lnTo>
                  <a:lnTo>
                    <a:pt x="169" y="1718"/>
                  </a:lnTo>
                  <a:lnTo>
                    <a:pt x="203" y="1010"/>
                  </a:lnTo>
                  <a:lnTo>
                    <a:pt x="203" y="808"/>
                  </a:lnTo>
                  <a:lnTo>
                    <a:pt x="169" y="606"/>
                  </a:lnTo>
                  <a:lnTo>
                    <a:pt x="136" y="404"/>
                  </a:lnTo>
                  <a:lnTo>
                    <a:pt x="136" y="202"/>
                  </a:lnTo>
                  <a:lnTo>
                    <a:pt x="270" y="236"/>
                  </a:lnTo>
                  <a:lnTo>
                    <a:pt x="1146" y="236"/>
                  </a:lnTo>
                  <a:lnTo>
                    <a:pt x="2324" y="135"/>
                  </a:lnTo>
                  <a:close/>
                  <a:moveTo>
                    <a:pt x="2391" y="0"/>
                  </a:moveTo>
                  <a:lnTo>
                    <a:pt x="2021" y="34"/>
                  </a:lnTo>
                  <a:lnTo>
                    <a:pt x="1651" y="34"/>
                  </a:lnTo>
                  <a:lnTo>
                    <a:pt x="1280" y="68"/>
                  </a:lnTo>
                  <a:lnTo>
                    <a:pt x="910" y="101"/>
                  </a:lnTo>
                  <a:lnTo>
                    <a:pt x="304" y="101"/>
                  </a:lnTo>
                  <a:lnTo>
                    <a:pt x="169" y="68"/>
                  </a:lnTo>
                  <a:lnTo>
                    <a:pt x="35" y="101"/>
                  </a:lnTo>
                  <a:lnTo>
                    <a:pt x="1" y="169"/>
                  </a:lnTo>
                  <a:lnTo>
                    <a:pt x="1" y="202"/>
                  </a:lnTo>
                  <a:lnTo>
                    <a:pt x="35" y="236"/>
                  </a:lnTo>
                  <a:lnTo>
                    <a:pt x="35" y="404"/>
                  </a:lnTo>
                  <a:lnTo>
                    <a:pt x="35" y="573"/>
                  </a:lnTo>
                  <a:lnTo>
                    <a:pt x="68" y="876"/>
                  </a:lnTo>
                  <a:lnTo>
                    <a:pt x="68" y="1280"/>
                  </a:lnTo>
                  <a:lnTo>
                    <a:pt x="35" y="1684"/>
                  </a:lnTo>
                  <a:lnTo>
                    <a:pt x="35" y="2088"/>
                  </a:lnTo>
                  <a:lnTo>
                    <a:pt x="35" y="2492"/>
                  </a:lnTo>
                  <a:lnTo>
                    <a:pt x="35" y="2526"/>
                  </a:lnTo>
                  <a:lnTo>
                    <a:pt x="102" y="2559"/>
                  </a:lnTo>
                  <a:lnTo>
                    <a:pt x="1247" y="2526"/>
                  </a:lnTo>
                  <a:lnTo>
                    <a:pt x="2391" y="2526"/>
                  </a:lnTo>
                  <a:lnTo>
                    <a:pt x="2425" y="2492"/>
                  </a:lnTo>
                  <a:lnTo>
                    <a:pt x="2459" y="2425"/>
                  </a:lnTo>
                  <a:lnTo>
                    <a:pt x="2425" y="2155"/>
                  </a:lnTo>
                  <a:lnTo>
                    <a:pt x="2425" y="1852"/>
                  </a:lnTo>
                  <a:lnTo>
                    <a:pt x="2425" y="1246"/>
                  </a:lnTo>
                  <a:lnTo>
                    <a:pt x="2459" y="674"/>
                  </a:lnTo>
                  <a:lnTo>
                    <a:pt x="2459" y="371"/>
                  </a:lnTo>
                  <a:lnTo>
                    <a:pt x="2459" y="68"/>
                  </a:lnTo>
                  <a:lnTo>
                    <a:pt x="2425" y="34"/>
                  </a:lnTo>
                  <a:lnTo>
                    <a:pt x="2391"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55" name="Google Shape;1855;p12"/>
            <p:cNvSpPr/>
            <p:nvPr/>
          </p:nvSpPr>
          <p:spPr>
            <a:xfrm>
              <a:off x="2951915" y="4947183"/>
              <a:ext cx="135745" cy="127386"/>
            </a:xfrm>
            <a:custGeom>
              <a:avLst/>
              <a:gdLst/>
              <a:ahLst/>
              <a:cxnLst/>
              <a:rect l="l" t="t" r="r" b="b"/>
              <a:pathLst>
                <a:path w="2728" h="2560" extrusionOk="0">
                  <a:moveTo>
                    <a:pt x="2189" y="135"/>
                  </a:moveTo>
                  <a:lnTo>
                    <a:pt x="2357" y="203"/>
                  </a:lnTo>
                  <a:lnTo>
                    <a:pt x="2458" y="236"/>
                  </a:lnTo>
                  <a:lnTo>
                    <a:pt x="2525" y="304"/>
                  </a:lnTo>
                  <a:lnTo>
                    <a:pt x="2559" y="405"/>
                  </a:lnTo>
                  <a:lnTo>
                    <a:pt x="2593" y="506"/>
                  </a:lnTo>
                  <a:lnTo>
                    <a:pt x="2593" y="741"/>
                  </a:lnTo>
                  <a:lnTo>
                    <a:pt x="2559" y="943"/>
                  </a:lnTo>
                  <a:lnTo>
                    <a:pt x="2525" y="1314"/>
                  </a:lnTo>
                  <a:lnTo>
                    <a:pt x="2458" y="1718"/>
                  </a:lnTo>
                  <a:lnTo>
                    <a:pt x="2458" y="1920"/>
                  </a:lnTo>
                  <a:lnTo>
                    <a:pt x="2424" y="2156"/>
                  </a:lnTo>
                  <a:lnTo>
                    <a:pt x="2391" y="2257"/>
                  </a:lnTo>
                  <a:lnTo>
                    <a:pt x="2357" y="2324"/>
                  </a:lnTo>
                  <a:lnTo>
                    <a:pt x="2256" y="2391"/>
                  </a:lnTo>
                  <a:lnTo>
                    <a:pt x="2121" y="2391"/>
                  </a:lnTo>
                  <a:lnTo>
                    <a:pt x="1212" y="2324"/>
                  </a:lnTo>
                  <a:lnTo>
                    <a:pt x="303" y="2324"/>
                  </a:lnTo>
                  <a:lnTo>
                    <a:pt x="269" y="1920"/>
                  </a:lnTo>
                  <a:lnTo>
                    <a:pt x="236" y="1550"/>
                  </a:lnTo>
                  <a:lnTo>
                    <a:pt x="168" y="1145"/>
                  </a:lnTo>
                  <a:lnTo>
                    <a:pt x="168" y="741"/>
                  </a:lnTo>
                  <a:lnTo>
                    <a:pt x="168" y="304"/>
                  </a:lnTo>
                  <a:lnTo>
                    <a:pt x="168" y="203"/>
                  </a:lnTo>
                  <a:lnTo>
                    <a:pt x="505" y="169"/>
                  </a:lnTo>
                  <a:lnTo>
                    <a:pt x="875" y="135"/>
                  </a:lnTo>
                  <a:close/>
                  <a:moveTo>
                    <a:pt x="1582" y="1"/>
                  </a:moveTo>
                  <a:lnTo>
                    <a:pt x="1145" y="34"/>
                  </a:lnTo>
                  <a:lnTo>
                    <a:pt x="370" y="34"/>
                  </a:lnTo>
                  <a:lnTo>
                    <a:pt x="101" y="68"/>
                  </a:lnTo>
                  <a:lnTo>
                    <a:pt x="67" y="102"/>
                  </a:lnTo>
                  <a:lnTo>
                    <a:pt x="67" y="135"/>
                  </a:lnTo>
                  <a:lnTo>
                    <a:pt x="34" y="270"/>
                  </a:lnTo>
                  <a:lnTo>
                    <a:pt x="0" y="438"/>
                  </a:lnTo>
                  <a:lnTo>
                    <a:pt x="34" y="741"/>
                  </a:lnTo>
                  <a:lnTo>
                    <a:pt x="34" y="1179"/>
                  </a:lnTo>
                  <a:lnTo>
                    <a:pt x="101" y="1583"/>
                  </a:lnTo>
                  <a:lnTo>
                    <a:pt x="135" y="1987"/>
                  </a:lnTo>
                  <a:lnTo>
                    <a:pt x="168" y="2425"/>
                  </a:lnTo>
                  <a:lnTo>
                    <a:pt x="202" y="2459"/>
                  </a:lnTo>
                  <a:lnTo>
                    <a:pt x="236" y="2492"/>
                  </a:lnTo>
                  <a:lnTo>
                    <a:pt x="606" y="2459"/>
                  </a:lnTo>
                  <a:lnTo>
                    <a:pt x="943" y="2459"/>
                  </a:lnTo>
                  <a:lnTo>
                    <a:pt x="1650" y="2492"/>
                  </a:lnTo>
                  <a:lnTo>
                    <a:pt x="2054" y="2560"/>
                  </a:lnTo>
                  <a:lnTo>
                    <a:pt x="2256" y="2560"/>
                  </a:lnTo>
                  <a:lnTo>
                    <a:pt x="2323" y="2526"/>
                  </a:lnTo>
                  <a:lnTo>
                    <a:pt x="2424" y="2492"/>
                  </a:lnTo>
                  <a:lnTo>
                    <a:pt x="2492" y="2425"/>
                  </a:lnTo>
                  <a:lnTo>
                    <a:pt x="2525" y="2358"/>
                  </a:lnTo>
                  <a:lnTo>
                    <a:pt x="2593" y="2189"/>
                  </a:lnTo>
                  <a:lnTo>
                    <a:pt x="2593" y="1853"/>
                  </a:lnTo>
                  <a:lnTo>
                    <a:pt x="2660" y="1348"/>
                  </a:lnTo>
                  <a:lnTo>
                    <a:pt x="2727" y="842"/>
                  </a:lnTo>
                  <a:lnTo>
                    <a:pt x="2727" y="506"/>
                  </a:lnTo>
                  <a:lnTo>
                    <a:pt x="2694" y="337"/>
                  </a:lnTo>
                  <a:lnTo>
                    <a:pt x="2626" y="203"/>
                  </a:lnTo>
                  <a:lnTo>
                    <a:pt x="2492" y="102"/>
                  </a:lnTo>
                  <a:lnTo>
                    <a:pt x="2323" y="34"/>
                  </a:lnTo>
                  <a:lnTo>
                    <a:pt x="2189"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56" name="Google Shape;1856;p12"/>
            <p:cNvSpPr/>
            <p:nvPr/>
          </p:nvSpPr>
          <p:spPr>
            <a:xfrm>
              <a:off x="3007198" y="5024261"/>
              <a:ext cx="28512" cy="31896"/>
            </a:xfrm>
            <a:custGeom>
              <a:avLst/>
              <a:gdLst/>
              <a:ahLst/>
              <a:cxnLst/>
              <a:rect l="l" t="t" r="r" b="b"/>
              <a:pathLst>
                <a:path w="573" h="641" extrusionOk="0">
                  <a:moveTo>
                    <a:pt x="337" y="1"/>
                  </a:moveTo>
                  <a:lnTo>
                    <a:pt x="269" y="68"/>
                  </a:lnTo>
                  <a:lnTo>
                    <a:pt x="202" y="135"/>
                  </a:lnTo>
                  <a:lnTo>
                    <a:pt x="34" y="337"/>
                  </a:lnTo>
                  <a:lnTo>
                    <a:pt x="0" y="371"/>
                  </a:lnTo>
                  <a:lnTo>
                    <a:pt x="0" y="405"/>
                  </a:lnTo>
                  <a:lnTo>
                    <a:pt x="34" y="438"/>
                  </a:lnTo>
                  <a:lnTo>
                    <a:pt x="236" y="438"/>
                  </a:lnTo>
                  <a:lnTo>
                    <a:pt x="404" y="405"/>
                  </a:lnTo>
                  <a:lnTo>
                    <a:pt x="404" y="573"/>
                  </a:lnTo>
                  <a:lnTo>
                    <a:pt x="404" y="607"/>
                  </a:lnTo>
                  <a:lnTo>
                    <a:pt x="438" y="640"/>
                  </a:lnTo>
                  <a:lnTo>
                    <a:pt x="471" y="640"/>
                  </a:lnTo>
                  <a:lnTo>
                    <a:pt x="505" y="607"/>
                  </a:lnTo>
                  <a:lnTo>
                    <a:pt x="505" y="573"/>
                  </a:lnTo>
                  <a:lnTo>
                    <a:pt x="572" y="573"/>
                  </a:lnTo>
                  <a:lnTo>
                    <a:pt x="539" y="506"/>
                  </a:lnTo>
                  <a:lnTo>
                    <a:pt x="572" y="304"/>
                  </a:lnTo>
                  <a:lnTo>
                    <a:pt x="572" y="270"/>
                  </a:lnTo>
                  <a:lnTo>
                    <a:pt x="539" y="236"/>
                  </a:lnTo>
                  <a:lnTo>
                    <a:pt x="505" y="203"/>
                  </a:lnTo>
                  <a:lnTo>
                    <a:pt x="471" y="236"/>
                  </a:lnTo>
                  <a:lnTo>
                    <a:pt x="337" y="304"/>
                  </a:lnTo>
                  <a:lnTo>
                    <a:pt x="168" y="304"/>
                  </a:lnTo>
                  <a:lnTo>
                    <a:pt x="337" y="135"/>
                  </a:lnTo>
                  <a:lnTo>
                    <a:pt x="370" y="68"/>
                  </a:lnTo>
                  <a:lnTo>
                    <a:pt x="370"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57" name="Google Shape;1857;p12"/>
            <p:cNvSpPr/>
            <p:nvPr/>
          </p:nvSpPr>
          <p:spPr>
            <a:xfrm>
              <a:off x="3166331" y="5099648"/>
              <a:ext cx="8409" cy="46973"/>
            </a:xfrm>
            <a:custGeom>
              <a:avLst/>
              <a:gdLst/>
              <a:ahLst/>
              <a:cxnLst/>
              <a:rect l="l" t="t" r="r" b="b"/>
              <a:pathLst>
                <a:path w="169" h="944" extrusionOk="0">
                  <a:moveTo>
                    <a:pt x="102" y="1"/>
                  </a:moveTo>
                  <a:lnTo>
                    <a:pt x="68" y="34"/>
                  </a:lnTo>
                  <a:lnTo>
                    <a:pt x="34" y="270"/>
                  </a:lnTo>
                  <a:lnTo>
                    <a:pt x="1" y="472"/>
                  </a:lnTo>
                  <a:lnTo>
                    <a:pt x="1" y="943"/>
                  </a:lnTo>
                  <a:lnTo>
                    <a:pt x="135" y="943"/>
                  </a:lnTo>
                  <a:lnTo>
                    <a:pt x="135" y="506"/>
                  </a:lnTo>
                  <a:lnTo>
                    <a:pt x="169" y="68"/>
                  </a:lnTo>
                  <a:lnTo>
                    <a:pt x="135" y="34"/>
                  </a:lnTo>
                  <a:lnTo>
                    <a:pt x="135"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58" name="Google Shape;1858;p12"/>
            <p:cNvSpPr/>
            <p:nvPr/>
          </p:nvSpPr>
          <p:spPr>
            <a:xfrm>
              <a:off x="2879863" y="5092930"/>
              <a:ext cx="129028" cy="53691"/>
            </a:xfrm>
            <a:custGeom>
              <a:avLst/>
              <a:gdLst/>
              <a:ahLst/>
              <a:cxnLst/>
              <a:rect l="l" t="t" r="r" b="b"/>
              <a:pathLst>
                <a:path w="2593" h="1079" extrusionOk="0">
                  <a:moveTo>
                    <a:pt x="438" y="1"/>
                  </a:moveTo>
                  <a:lnTo>
                    <a:pt x="68" y="68"/>
                  </a:lnTo>
                  <a:lnTo>
                    <a:pt x="34" y="102"/>
                  </a:lnTo>
                  <a:lnTo>
                    <a:pt x="34" y="136"/>
                  </a:lnTo>
                  <a:lnTo>
                    <a:pt x="34" y="169"/>
                  </a:lnTo>
                  <a:lnTo>
                    <a:pt x="0" y="1078"/>
                  </a:lnTo>
                  <a:lnTo>
                    <a:pt x="101" y="1078"/>
                  </a:lnTo>
                  <a:lnTo>
                    <a:pt x="135" y="641"/>
                  </a:lnTo>
                  <a:lnTo>
                    <a:pt x="135" y="203"/>
                  </a:lnTo>
                  <a:lnTo>
                    <a:pt x="371" y="136"/>
                  </a:lnTo>
                  <a:lnTo>
                    <a:pt x="606" y="102"/>
                  </a:lnTo>
                  <a:lnTo>
                    <a:pt x="1111" y="136"/>
                  </a:lnTo>
                  <a:lnTo>
                    <a:pt x="1616" y="169"/>
                  </a:lnTo>
                  <a:lnTo>
                    <a:pt x="2121" y="203"/>
                  </a:lnTo>
                  <a:lnTo>
                    <a:pt x="2256" y="237"/>
                  </a:lnTo>
                  <a:lnTo>
                    <a:pt x="2357" y="270"/>
                  </a:lnTo>
                  <a:lnTo>
                    <a:pt x="2391" y="371"/>
                  </a:lnTo>
                  <a:lnTo>
                    <a:pt x="2424" y="472"/>
                  </a:lnTo>
                  <a:lnTo>
                    <a:pt x="2458" y="708"/>
                  </a:lnTo>
                  <a:lnTo>
                    <a:pt x="2458" y="944"/>
                  </a:lnTo>
                  <a:lnTo>
                    <a:pt x="2458" y="1078"/>
                  </a:lnTo>
                  <a:lnTo>
                    <a:pt x="2559" y="1078"/>
                  </a:lnTo>
                  <a:lnTo>
                    <a:pt x="2559" y="1045"/>
                  </a:lnTo>
                  <a:lnTo>
                    <a:pt x="2593" y="573"/>
                  </a:lnTo>
                  <a:lnTo>
                    <a:pt x="2559" y="371"/>
                  </a:lnTo>
                  <a:lnTo>
                    <a:pt x="2525" y="237"/>
                  </a:lnTo>
                  <a:lnTo>
                    <a:pt x="2458" y="169"/>
                  </a:lnTo>
                  <a:lnTo>
                    <a:pt x="2357" y="102"/>
                  </a:lnTo>
                  <a:lnTo>
                    <a:pt x="2256" y="68"/>
                  </a:lnTo>
                  <a:lnTo>
                    <a:pt x="1987" y="35"/>
                  </a:lnTo>
                  <a:lnTo>
                    <a:pt x="1482" y="35"/>
                  </a:lnTo>
                  <a:lnTo>
                    <a:pt x="775"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59" name="Google Shape;1859;p12"/>
            <p:cNvSpPr/>
            <p:nvPr/>
          </p:nvSpPr>
          <p:spPr>
            <a:xfrm>
              <a:off x="3099304" y="4943849"/>
              <a:ext cx="125694" cy="135745"/>
            </a:xfrm>
            <a:custGeom>
              <a:avLst/>
              <a:gdLst/>
              <a:ahLst/>
              <a:cxnLst/>
              <a:rect l="l" t="t" r="r" b="b"/>
              <a:pathLst>
                <a:path w="2526" h="2728" extrusionOk="0">
                  <a:moveTo>
                    <a:pt x="439" y="135"/>
                  </a:moveTo>
                  <a:lnTo>
                    <a:pt x="708" y="169"/>
                  </a:lnTo>
                  <a:lnTo>
                    <a:pt x="1516" y="202"/>
                  </a:lnTo>
                  <a:lnTo>
                    <a:pt x="2189" y="202"/>
                  </a:lnTo>
                  <a:lnTo>
                    <a:pt x="2257" y="236"/>
                  </a:lnTo>
                  <a:lnTo>
                    <a:pt x="2290" y="270"/>
                  </a:lnTo>
                  <a:lnTo>
                    <a:pt x="2358" y="404"/>
                  </a:lnTo>
                  <a:lnTo>
                    <a:pt x="2391" y="606"/>
                  </a:lnTo>
                  <a:lnTo>
                    <a:pt x="2391" y="808"/>
                  </a:lnTo>
                  <a:lnTo>
                    <a:pt x="2358" y="1280"/>
                  </a:lnTo>
                  <a:lnTo>
                    <a:pt x="2358" y="1583"/>
                  </a:lnTo>
                  <a:lnTo>
                    <a:pt x="2324" y="1987"/>
                  </a:lnTo>
                  <a:lnTo>
                    <a:pt x="2290" y="2189"/>
                  </a:lnTo>
                  <a:lnTo>
                    <a:pt x="2189" y="2391"/>
                  </a:lnTo>
                  <a:lnTo>
                    <a:pt x="2156" y="2458"/>
                  </a:lnTo>
                  <a:lnTo>
                    <a:pt x="2122" y="2492"/>
                  </a:lnTo>
                  <a:lnTo>
                    <a:pt x="1987" y="2526"/>
                  </a:lnTo>
                  <a:lnTo>
                    <a:pt x="1684" y="2559"/>
                  </a:lnTo>
                  <a:lnTo>
                    <a:pt x="1112" y="2559"/>
                  </a:lnTo>
                  <a:lnTo>
                    <a:pt x="843" y="2526"/>
                  </a:lnTo>
                  <a:lnTo>
                    <a:pt x="540" y="2458"/>
                  </a:lnTo>
                  <a:lnTo>
                    <a:pt x="405" y="2391"/>
                  </a:lnTo>
                  <a:lnTo>
                    <a:pt x="304" y="2324"/>
                  </a:lnTo>
                  <a:lnTo>
                    <a:pt x="237" y="2189"/>
                  </a:lnTo>
                  <a:lnTo>
                    <a:pt x="203" y="2054"/>
                  </a:lnTo>
                  <a:lnTo>
                    <a:pt x="203" y="1718"/>
                  </a:lnTo>
                  <a:lnTo>
                    <a:pt x="237" y="1415"/>
                  </a:lnTo>
                  <a:lnTo>
                    <a:pt x="270" y="1111"/>
                  </a:lnTo>
                  <a:lnTo>
                    <a:pt x="237" y="775"/>
                  </a:lnTo>
                  <a:lnTo>
                    <a:pt x="169" y="135"/>
                  </a:lnTo>
                  <a:close/>
                  <a:moveTo>
                    <a:pt x="102" y="0"/>
                  </a:moveTo>
                  <a:lnTo>
                    <a:pt x="35" y="68"/>
                  </a:lnTo>
                  <a:lnTo>
                    <a:pt x="1" y="101"/>
                  </a:lnTo>
                  <a:lnTo>
                    <a:pt x="1" y="135"/>
                  </a:lnTo>
                  <a:lnTo>
                    <a:pt x="35" y="169"/>
                  </a:lnTo>
                  <a:lnTo>
                    <a:pt x="102" y="202"/>
                  </a:lnTo>
                  <a:lnTo>
                    <a:pt x="68" y="404"/>
                  </a:lnTo>
                  <a:lnTo>
                    <a:pt x="68" y="573"/>
                  </a:lnTo>
                  <a:lnTo>
                    <a:pt x="102" y="977"/>
                  </a:lnTo>
                  <a:lnTo>
                    <a:pt x="102" y="1381"/>
                  </a:lnTo>
                  <a:lnTo>
                    <a:pt x="68" y="1751"/>
                  </a:lnTo>
                  <a:lnTo>
                    <a:pt x="35" y="2054"/>
                  </a:lnTo>
                  <a:lnTo>
                    <a:pt x="68" y="2189"/>
                  </a:lnTo>
                  <a:lnTo>
                    <a:pt x="102" y="2290"/>
                  </a:lnTo>
                  <a:lnTo>
                    <a:pt x="169" y="2391"/>
                  </a:lnTo>
                  <a:lnTo>
                    <a:pt x="270" y="2492"/>
                  </a:lnTo>
                  <a:lnTo>
                    <a:pt x="371" y="2559"/>
                  </a:lnTo>
                  <a:lnTo>
                    <a:pt x="506" y="2627"/>
                  </a:lnTo>
                  <a:lnTo>
                    <a:pt x="876" y="2694"/>
                  </a:lnTo>
                  <a:lnTo>
                    <a:pt x="1213" y="2728"/>
                  </a:lnTo>
                  <a:lnTo>
                    <a:pt x="1583" y="2728"/>
                  </a:lnTo>
                  <a:lnTo>
                    <a:pt x="1954" y="2660"/>
                  </a:lnTo>
                  <a:lnTo>
                    <a:pt x="2088" y="2660"/>
                  </a:lnTo>
                  <a:lnTo>
                    <a:pt x="2189" y="2593"/>
                  </a:lnTo>
                  <a:lnTo>
                    <a:pt x="2290" y="2526"/>
                  </a:lnTo>
                  <a:lnTo>
                    <a:pt x="2358" y="2425"/>
                  </a:lnTo>
                  <a:lnTo>
                    <a:pt x="2459" y="2223"/>
                  </a:lnTo>
                  <a:lnTo>
                    <a:pt x="2492" y="1953"/>
                  </a:lnTo>
                  <a:lnTo>
                    <a:pt x="2526" y="1684"/>
                  </a:lnTo>
                  <a:lnTo>
                    <a:pt x="2526" y="1448"/>
                  </a:lnTo>
                  <a:lnTo>
                    <a:pt x="2526" y="977"/>
                  </a:lnTo>
                  <a:lnTo>
                    <a:pt x="2526" y="606"/>
                  </a:lnTo>
                  <a:lnTo>
                    <a:pt x="2526" y="404"/>
                  </a:lnTo>
                  <a:lnTo>
                    <a:pt x="2459" y="236"/>
                  </a:lnTo>
                  <a:lnTo>
                    <a:pt x="2391" y="135"/>
                  </a:lnTo>
                  <a:lnTo>
                    <a:pt x="2324" y="101"/>
                  </a:lnTo>
                  <a:lnTo>
                    <a:pt x="2223" y="68"/>
                  </a:lnTo>
                  <a:lnTo>
                    <a:pt x="2122" y="34"/>
                  </a:lnTo>
                  <a:lnTo>
                    <a:pt x="1718" y="34"/>
                  </a:lnTo>
                  <a:lnTo>
                    <a:pt x="573"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60" name="Google Shape;1860;p12"/>
            <p:cNvSpPr/>
            <p:nvPr/>
          </p:nvSpPr>
          <p:spPr>
            <a:xfrm>
              <a:off x="3295359" y="5022569"/>
              <a:ext cx="28512" cy="30204"/>
            </a:xfrm>
            <a:custGeom>
              <a:avLst/>
              <a:gdLst/>
              <a:ahLst/>
              <a:cxnLst/>
              <a:rect l="l" t="t" r="r" b="b"/>
              <a:pathLst>
                <a:path w="573" h="607" extrusionOk="0">
                  <a:moveTo>
                    <a:pt x="370" y="371"/>
                  </a:moveTo>
                  <a:lnTo>
                    <a:pt x="438" y="405"/>
                  </a:lnTo>
                  <a:lnTo>
                    <a:pt x="438" y="439"/>
                  </a:lnTo>
                  <a:lnTo>
                    <a:pt x="370" y="472"/>
                  </a:lnTo>
                  <a:lnTo>
                    <a:pt x="303" y="472"/>
                  </a:lnTo>
                  <a:lnTo>
                    <a:pt x="236" y="439"/>
                  </a:lnTo>
                  <a:lnTo>
                    <a:pt x="202" y="439"/>
                  </a:lnTo>
                  <a:lnTo>
                    <a:pt x="337" y="371"/>
                  </a:lnTo>
                  <a:close/>
                  <a:moveTo>
                    <a:pt x="337" y="1"/>
                  </a:moveTo>
                  <a:lnTo>
                    <a:pt x="168" y="68"/>
                  </a:lnTo>
                  <a:lnTo>
                    <a:pt x="67" y="203"/>
                  </a:lnTo>
                  <a:lnTo>
                    <a:pt x="0" y="270"/>
                  </a:lnTo>
                  <a:lnTo>
                    <a:pt x="0" y="338"/>
                  </a:lnTo>
                  <a:lnTo>
                    <a:pt x="0" y="405"/>
                  </a:lnTo>
                  <a:lnTo>
                    <a:pt x="34" y="439"/>
                  </a:lnTo>
                  <a:lnTo>
                    <a:pt x="0" y="472"/>
                  </a:lnTo>
                  <a:lnTo>
                    <a:pt x="0" y="506"/>
                  </a:lnTo>
                  <a:lnTo>
                    <a:pt x="34" y="540"/>
                  </a:lnTo>
                  <a:lnTo>
                    <a:pt x="67" y="573"/>
                  </a:lnTo>
                  <a:lnTo>
                    <a:pt x="135" y="540"/>
                  </a:lnTo>
                  <a:lnTo>
                    <a:pt x="236" y="607"/>
                  </a:lnTo>
                  <a:lnTo>
                    <a:pt x="438" y="607"/>
                  </a:lnTo>
                  <a:lnTo>
                    <a:pt x="505" y="573"/>
                  </a:lnTo>
                  <a:lnTo>
                    <a:pt x="572" y="506"/>
                  </a:lnTo>
                  <a:lnTo>
                    <a:pt x="572" y="439"/>
                  </a:lnTo>
                  <a:lnTo>
                    <a:pt x="572" y="371"/>
                  </a:lnTo>
                  <a:lnTo>
                    <a:pt x="539" y="304"/>
                  </a:lnTo>
                  <a:lnTo>
                    <a:pt x="438" y="270"/>
                  </a:lnTo>
                  <a:lnTo>
                    <a:pt x="337" y="237"/>
                  </a:lnTo>
                  <a:lnTo>
                    <a:pt x="236" y="270"/>
                  </a:lnTo>
                  <a:lnTo>
                    <a:pt x="135" y="338"/>
                  </a:lnTo>
                  <a:lnTo>
                    <a:pt x="135" y="270"/>
                  </a:lnTo>
                  <a:lnTo>
                    <a:pt x="202" y="203"/>
                  </a:lnTo>
                  <a:lnTo>
                    <a:pt x="269" y="136"/>
                  </a:lnTo>
                  <a:lnTo>
                    <a:pt x="370" y="102"/>
                  </a:lnTo>
                  <a:lnTo>
                    <a:pt x="471" y="102"/>
                  </a:lnTo>
                  <a:lnTo>
                    <a:pt x="505" y="68"/>
                  </a:lnTo>
                  <a:lnTo>
                    <a:pt x="471"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61" name="Google Shape;1861;p12"/>
            <p:cNvSpPr/>
            <p:nvPr/>
          </p:nvSpPr>
          <p:spPr>
            <a:xfrm>
              <a:off x="3273564" y="4850051"/>
              <a:ext cx="135745" cy="83796"/>
            </a:xfrm>
            <a:custGeom>
              <a:avLst/>
              <a:gdLst/>
              <a:ahLst/>
              <a:cxnLst/>
              <a:rect l="l" t="t" r="r" b="b"/>
              <a:pathLst>
                <a:path w="2728" h="1684" extrusionOk="0">
                  <a:moveTo>
                    <a:pt x="236" y="135"/>
                  </a:moveTo>
                  <a:lnTo>
                    <a:pt x="640" y="168"/>
                  </a:lnTo>
                  <a:lnTo>
                    <a:pt x="1785" y="202"/>
                  </a:lnTo>
                  <a:lnTo>
                    <a:pt x="2189" y="202"/>
                  </a:lnTo>
                  <a:lnTo>
                    <a:pt x="2391" y="236"/>
                  </a:lnTo>
                  <a:lnTo>
                    <a:pt x="2492" y="236"/>
                  </a:lnTo>
                  <a:lnTo>
                    <a:pt x="2559" y="269"/>
                  </a:lnTo>
                  <a:lnTo>
                    <a:pt x="2593" y="404"/>
                  </a:lnTo>
                  <a:lnTo>
                    <a:pt x="2593" y="539"/>
                  </a:lnTo>
                  <a:lnTo>
                    <a:pt x="2593" y="808"/>
                  </a:lnTo>
                  <a:lnTo>
                    <a:pt x="2593" y="1414"/>
                  </a:lnTo>
                  <a:lnTo>
                    <a:pt x="2559" y="1448"/>
                  </a:lnTo>
                  <a:lnTo>
                    <a:pt x="2492" y="1515"/>
                  </a:lnTo>
                  <a:lnTo>
                    <a:pt x="2290" y="1549"/>
                  </a:lnTo>
                  <a:lnTo>
                    <a:pt x="1616" y="1549"/>
                  </a:lnTo>
                  <a:lnTo>
                    <a:pt x="909" y="1481"/>
                  </a:lnTo>
                  <a:lnTo>
                    <a:pt x="472" y="1448"/>
                  </a:lnTo>
                  <a:lnTo>
                    <a:pt x="371" y="1414"/>
                  </a:lnTo>
                  <a:lnTo>
                    <a:pt x="303" y="1313"/>
                  </a:lnTo>
                  <a:lnTo>
                    <a:pt x="236" y="1178"/>
                  </a:lnTo>
                  <a:lnTo>
                    <a:pt x="236" y="1044"/>
                  </a:lnTo>
                  <a:lnTo>
                    <a:pt x="202" y="707"/>
                  </a:lnTo>
                  <a:lnTo>
                    <a:pt x="202" y="438"/>
                  </a:lnTo>
                  <a:lnTo>
                    <a:pt x="236" y="303"/>
                  </a:lnTo>
                  <a:lnTo>
                    <a:pt x="202" y="135"/>
                  </a:lnTo>
                  <a:close/>
                  <a:moveTo>
                    <a:pt x="236" y="0"/>
                  </a:moveTo>
                  <a:lnTo>
                    <a:pt x="34" y="34"/>
                  </a:lnTo>
                  <a:lnTo>
                    <a:pt x="0" y="67"/>
                  </a:lnTo>
                  <a:lnTo>
                    <a:pt x="0" y="101"/>
                  </a:lnTo>
                  <a:lnTo>
                    <a:pt x="0" y="135"/>
                  </a:lnTo>
                  <a:lnTo>
                    <a:pt x="34" y="168"/>
                  </a:lnTo>
                  <a:lnTo>
                    <a:pt x="101" y="168"/>
                  </a:lnTo>
                  <a:lnTo>
                    <a:pt x="101" y="202"/>
                  </a:lnTo>
                  <a:lnTo>
                    <a:pt x="101" y="303"/>
                  </a:lnTo>
                  <a:lnTo>
                    <a:pt x="68" y="471"/>
                  </a:lnTo>
                  <a:lnTo>
                    <a:pt x="68" y="673"/>
                  </a:lnTo>
                  <a:lnTo>
                    <a:pt x="101" y="1111"/>
                  </a:lnTo>
                  <a:lnTo>
                    <a:pt x="202" y="1549"/>
                  </a:lnTo>
                  <a:lnTo>
                    <a:pt x="236" y="1582"/>
                  </a:lnTo>
                  <a:lnTo>
                    <a:pt x="573" y="1582"/>
                  </a:lnTo>
                  <a:lnTo>
                    <a:pt x="876" y="1616"/>
                  </a:lnTo>
                  <a:lnTo>
                    <a:pt x="1482" y="1683"/>
                  </a:lnTo>
                  <a:lnTo>
                    <a:pt x="2357" y="1683"/>
                  </a:lnTo>
                  <a:lnTo>
                    <a:pt x="2660" y="1616"/>
                  </a:lnTo>
                  <a:lnTo>
                    <a:pt x="2694" y="1582"/>
                  </a:lnTo>
                  <a:lnTo>
                    <a:pt x="2727" y="1549"/>
                  </a:lnTo>
                  <a:lnTo>
                    <a:pt x="2727" y="909"/>
                  </a:lnTo>
                  <a:lnTo>
                    <a:pt x="2727" y="572"/>
                  </a:lnTo>
                  <a:lnTo>
                    <a:pt x="2660" y="269"/>
                  </a:lnTo>
                  <a:lnTo>
                    <a:pt x="2626" y="168"/>
                  </a:lnTo>
                  <a:lnTo>
                    <a:pt x="2525" y="135"/>
                  </a:lnTo>
                  <a:lnTo>
                    <a:pt x="2424" y="101"/>
                  </a:lnTo>
                  <a:lnTo>
                    <a:pt x="1650" y="101"/>
                  </a:lnTo>
                  <a:lnTo>
                    <a:pt x="977" y="34"/>
                  </a:lnTo>
                  <a:lnTo>
                    <a:pt x="505"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62" name="Google Shape;1862;p12"/>
            <p:cNvSpPr/>
            <p:nvPr/>
          </p:nvSpPr>
          <p:spPr>
            <a:xfrm>
              <a:off x="3157971" y="5087904"/>
              <a:ext cx="137437" cy="58717"/>
            </a:xfrm>
            <a:custGeom>
              <a:avLst/>
              <a:gdLst/>
              <a:ahLst/>
              <a:cxnLst/>
              <a:rect l="l" t="t" r="r" b="b"/>
              <a:pathLst>
                <a:path w="2762" h="1180" extrusionOk="0">
                  <a:moveTo>
                    <a:pt x="438" y="1"/>
                  </a:moveTo>
                  <a:lnTo>
                    <a:pt x="202" y="68"/>
                  </a:lnTo>
                  <a:lnTo>
                    <a:pt x="101" y="102"/>
                  </a:lnTo>
                  <a:lnTo>
                    <a:pt x="34" y="169"/>
                  </a:lnTo>
                  <a:lnTo>
                    <a:pt x="0" y="237"/>
                  </a:lnTo>
                  <a:lnTo>
                    <a:pt x="34" y="270"/>
                  </a:lnTo>
                  <a:lnTo>
                    <a:pt x="101" y="270"/>
                  </a:lnTo>
                  <a:lnTo>
                    <a:pt x="135" y="237"/>
                  </a:lnTo>
                  <a:lnTo>
                    <a:pt x="202" y="203"/>
                  </a:lnTo>
                  <a:lnTo>
                    <a:pt x="303" y="169"/>
                  </a:lnTo>
                  <a:lnTo>
                    <a:pt x="539" y="136"/>
                  </a:lnTo>
                  <a:lnTo>
                    <a:pt x="977" y="169"/>
                  </a:lnTo>
                  <a:lnTo>
                    <a:pt x="1919" y="203"/>
                  </a:lnTo>
                  <a:lnTo>
                    <a:pt x="2256" y="237"/>
                  </a:lnTo>
                  <a:lnTo>
                    <a:pt x="2391" y="270"/>
                  </a:lnTo>
                  <a:lnTo>
                    <a:pt x="2525" y="338"/>
                  </a:lnTo>
                  <a:lnTo>
                    <a:pt x="2593" y="371"/>
                  </a:lnTo>
                  <a:lnTo>
                    <a:pt x="2626" y="439"/>
                  </a:lnTo>
                  <a:lnTo>
                    <a:pt x="2660" y="607"/>
                  </a:lnTo>
                  <a:lnTo>
                    <a:pt x="2626" y="910"/>
                  </a:lnTo>
                  <a:lnTo>
                    <a:pt x="2660" y="1179"/>
                  </a:lnTo>
                  <a:lnTo>
                    <a:pt x="2761" y="1179"/>
                  </a:lnTo>
                  <a:lnTo>
                    <a:pt x="2761" y="708"/>
                  </a:lnTo>
                  <a:lnTo>
                    <a:pt x="2761" y="439"/>
                  </a:lnTo>
                  <a:lnTo>
                    <a:pt x="2727" y="371"/>
                  </a:lnTo>
                  <a:lnTo>
                    <a:pt x="2660" y="270"/>
                  </a:lnTo>
                  <a:lnTo>
                    <a:pt x="2593" y="237"/>
                  </a:lnTo>
                  <a:lnTo>
                    <a:pt x="2525" y="169"/>
                  </a:lnTo>
                  <a:lnTo>
                    <a:pt x="2256" y="102"/>
                  </a:lnTo>
                  <a:lnTo>
                    <a:pt x="1919" y="68"/>
                  </a:lnTo>
                  <a:lnTo>
                    <a:pt x="1583" y="68"/>
                  </a:lnTo>
                  <a:lnTo>
                    <a:pt x="909" y="35"/>
                  </a:lnTo>
                  <a:lnTo>
                    <a:pt x="674"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63" name="Google Shape;1863;p12"/>
            <p:cNvSpPr/>
            <p:nvPr/>
          </p:nvSpPr>
          <p:spPr>
            <a:xfrm>
              <a:off x="3392490" y="4943849"/>
              <a:ext cx="130720" cy="132411"/>
            </a:xfrm>
            <a:custGeom>
              <a:avLst/>
              <a:gdLst/>
              <a:ahLst/>
              <a:cxnLst/>
              <a:rect l="l" t="t" r="r" b="b"/>
              <a:pathLst>
                <a:path w="2627" h="2661" extrusionOk="0">
                  <a:moveTo>
                    <a:pt x="2122" y="135"/>
                  </a:moveTo>
                  <a:lnTo>
                    <a:pt x="2257" y="169"/>
                  </a:lnTo>
                  <a:lnTo>
                    <a:pt x="2358" y="236"/>
                  </a:lnTo>
                  <a:lnTo>
                    <a:pt x="2425" y="337"/>
                  </a:lnTo>
                  <a:lnTo>
                    <a:pt x="2492" y="539"/>
                  </a:lnTo>
                  <a:lnTo>
                    <a:pt x="2492" y="741"/>
                  </a:lnTo>
                  <a:lnTo>
                    <a:pt x="2492" y="1179"/>
                  </a:lnTo>
                  <a:lnTo>
                    <a:pt x="2425" y="1718"/>
                  </a:lnTo>
                  <a:lnTo>
                    <a:pt x="2391" y="1953"/>
                  </a:lnTo>
                  <a:lnTo>
                    <a:pt x="2290" y="2223"/>
                  </a:lnTo>
                  <a:lnTo>
                    <a:pt x="2223" y="2324"/>
                  </a:lnTo>
                  <a:lnTo>
                    <a:pt x="2156" y="2391"/>
                  </a:lnTo>
                  <a:lnTo>
                    <a:pt x="2021" y="2458"/>
                  </a:lnTo>
                  <a:lnTo>
                    <a:pt x="1920" y="2492"/>
                  </a:lnTo>
                  <a:lnTo>
                    <a:pt x="1381" y="2492"/>
                  </a:lnTo>
                  <a:lnTo>
                    <a:pt x="472" y="2458"/>
                  </a:lnTo>
                  <a:lnTo>
                    <a:pt x="337" y="2425"/>
                  </a:lnTo>
                  <a:lnTo>
                    <a:pt x="236" y="2324"/>
                  </a:lnTo>
                  <a:lnTo>
                    <a:pt x="169" y="2223"/>
                  </a:lnTo>
                  <a:lnTo>
                    <a:pt x="135" y="2088"/>
                  </a:lnTo>
                  <a:lnTo>
                    <a:pt x="135" y="1785"/>
                  </a:lnTo>
                  <a:lnTo>
                    <a:pt x="169" y="1516"/>
                  </a:lnTo>
                  <a:lnTo>
                    <a:pt x="169" y="741"/>
                  </a:lnTo>
                  <a:lnTo>
                    <a:pt x="203" y="472"/>
                  </a:lnTo>
                  <a:lnTo>
                    <a:pt x="169" y="337"/>
                  </a:lnTo>
                  <a:lnTo>
                    <a:pt x="135" y="202"/>
                  </a:lnTo>
                  <a:lnTo>
                    <a:pt x="169" y="202"/>
                  </a:lnTo>
                  <a:lnTo>
                    <a:pt x="472" y="169"/>
                  </a:lnTo>
                  <a:lnTo>
                    <a:pt x="775" y="135"/>
                  </a:lnTo>
                  <a:close/>
                  <a:moveTo>
                    <a:pt x="506" y="0"/>
                  </a:moveTo>
                  <a:lnTo>
                    <a:pt x="135" y="68"/>
                  </a:lnTo>
                  <a:lnTo>
                    <a:pt x="135" y="101"/>
                  </a:lnTo>
                  <a:lnTo>
                    <a:pt x="102" y="101"/>
                  </a:lnTo>
                  <a:lnTo>
                    <a:pt x="68" y="135"/>
                  </a:lnTo>
                  <a:lnTo>
                    <a:pt x="34" y="573"/>
                  </a:lnTo>
                  <a:lnTo>
                    <a:pt x="34" y="1010"/>
                  </a:lnTo>
                  <a:lnTo>
                    <a:pt x="34" y="1852"/>
                  </a:lnTo>
                  <a:lnTo>
                    <a:pt x="1" y="2088"/>
                  </a:lnTo>
                  <a:lnTo>
                    <a:pt x="34" y="2290"/>
                  </a:lnTo>
                  <a:lnTo>
                    <a:pt x="68" y="2357"/>
                  </a:lnTo>
                  <a:lnTo>
                    <a:pt x="102" y="2458"/>
                  </a:lnTo>
                  <a:lnTo>
                    <a:pt x="169" y="2526"/>
                  </a:lnTo>
                  <a:lnTo>
                    <a:pt x="270" y="2559"/>
                  </a:lnTo>
                  <a:lnTo>
                    <a:pt x="573" y="2627"/>
                  </a:lnTo>
                  <a:lnTo>
                    <a:pt x="876" y="2660"/>
                  </a:lnTo>
                  <a:lnTo>
                    <a:pt x="1482" y="2627"/>
                  </a:lnTo>
                  <a:lnTo>
                    <a:pt x="1718" y="2627"/>
                  </a:lnTo>
                  <a:lnTo>
                    <a:pt x="1987" y="2593"/>
                  </a:lnTo>
                  <a:lnTo>
                    <a:pt x="2122" y="2559"/>
                  </a:lnTo>
                  <a:lnTo>
                    <a:pt x="2223" y="2526"/>
                  </a:lnTo>
                  <a:lnTo>
                    <a:pt x="2324" y="2458"/>
                  </a:lnTo>
                  <a:lnTo>
                    <a:pt x="2391" y="2357"/>
                  </a:lnTo>
                  <a:lnTo>
                    <a:pt x="2526" y="2088"/>
                  </a:lnTo>
                  <a:lnTo>
                    <a:pt x="2560" y="1819"/>
                  </a:lnTo>
                  <a:lnTo>
                    <a:pt x="2593" y="1246"/>
                  </a:lnTo>
                  <a:lnTo>
                    <a:pt x="2627" y="707"/>
                  </a:lnTo>
                  <a:lnTo>
                    <a:pt x="2627" y="438"/>
                  </a:lnTo>
                  <a:lnTo>
                    <a:pt x="2593" y="337"/>
                  </a:lnTo>
                  <a:lnTo>
                    <a:pt x="2526" y="202"/>
                  </a:lnTo>
                  <a:lnTo>
                    <a:pt x="2459" y="135"/>
                  </a:lnTo>
                  <a:lnTo>
                    <a:pt x="2358" y="68"/>
                  </a:lnTo>
                  <a:lnTo>
                    <a:pt x="2257" y="34"/>
                  </a:lnTo>
                  <a:lnTo>
                    <a:pt x="2156"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64" name="Google Shape;1864;p12"/>
            <p:cNvSpPr/>
            <p:nvPr/>
          </p:nvSpPr>
          <p:spPr>
            <a:xfrm>
              <a:off x="3154587" y="5027595"/>
              <a:ext cx="20153" cy="26870"/>
            </a:xfrm>
            <a:custGeom>
              <a:avLst/>
              <a:gdLst/>
              <a:ahLst/>
              <a:cxnLst/>
              <a:rect l="l" t="t" r="r" b="b"/>
              <a:pathLst>
                <a:path w="405" h="540" extrusionOk="0">
                  <a:moveTo>
                    <a:pt x="1" y="1"/>
                  </a:moveTo>
                  <a:lnTo>
                    <a:pt x="1" y="68"/>
                  </a:lnTo>
                  <a:lnTo>
                    <a:pt x="1" y="169"/>
                  </a:lnTo>
                  <a:lnTo>
                    <a:pt x="35" y="237"/>
                  </a:lnTo>
                  <a:lnTo>
                    <a:pt x="68" y="270"/>
                  </a:lnTo>
                  <a:lnTo>
                    <a:pt x="237" y="270"/>
                  </a:lnTo>
                  <a:lnTo>
                    <a:pt x="270" y="338"/>
                  </a:lnTo>
                  <a:lnTo>
                    <a:pt x="270" y="405"/>
                  </a:lnTo>
                  <a:lnTo>
                    <a:pt x="102" y="405"/>
                  </a:lnTo>
                  <a:lnTo>
                    <a:pt x="68" y="371"/>
                  </a:lnTo>
                  <a:lnTo>
                    <a:pt x="35" y="405"/>
                  </a:lnTo>
                  <a:lnTo>
                    <a:pt x="1" y="439"/>
                  </a:lnTo>
                  <a:lnTo>
                    <a:pt x="1" y="506"/>
                  </a:lnTo>
                  <a:lnTo>
                    <a:pt x="35" y="540"/>
                  </a:lnTo>
                  <a:lnTo>
                    <a:pt x="304" y="540"/>
                  </a:lnTo>
                  <a:lnTo>
                    <a:pt x="338" y="506"/>
                  </a:lnTo>
                  <a:lnTo>
                    <a:pt x="371" y="472"/>
                  </a:lnTo>
                  <a:lnTo>
                    <a:pt x="405" y="371"/>
                  </a:lnTo>
                  <a:lnTo>
                    <a:pt x="405" y="270"/>
                  </a:lnTo>
                  <a:lnTo>
                    <a:pt x="371" y="203"/>
                  </a:lnTo>
                  <a:lnTo>
                    <a:pt x="304" y="169"/>
                  </a:lnTo>
                  <a:lnTo>
                    <a:pt x="237" y="136"/>
                  </a:lnTo>
                  <a:lnTo>
                    <a:pt x="136" y="136"/>
                  </a:lnTo>
                  <a:lnTo>
                    <a:pt x="136" y="102"/>
                  </a:lnTo>
                  <a:lnTo>
                    <a:pt x="237" y="102"/>
                  </a:lnTo>
                  <a:lnTo>
                    <a:pt x="304" y="68"/>
                  </a:lnTo>
                  <a:lnTo>
                    <a:pt x="405" y="35"/>
                  </a:lnTo>
                  <a:lnTo>
                    <a:pt x="405"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65" name="Google Shape;1865;p12"/>
            <p:cNvSpPr/>
            <p:nvPr/>
          </p:nvSpPr>
          <p:spPr>
            <a:xfrm>
              <a:off x="3245051" y="4945541"/>
              <a:ext cx="125744" cy="132362"/>
            </a:xfrm>
            <a:custGeom>
              <a:avLst/>
              <a:gdLst/>
              <a:ahLst/>
              <a:cxnLst/>
              <a:rect l="l" t="t" r="r" b="b"/>
              <a:pathLst>
                <a:path w="2527" h="2660" extrusionOk="0">
                  <a:moveTo>
                    <a:pt x="2122" y="135"/>
                  </a:moveTo>
                  <a:lnTo>
                    <a:pt x="2257" y="202"/>
                  </a:lnTo>
                  <a:lnTo>
                    <a:pt x="2324" y="337"/>
                  </a:lnTo>
                  <a:lnTo>
                    <a:pt x="2391" y="471"/>
                  </a:lnTo>
                  <a:lnTo>
                    <a:pt x="2425" y="673"/>
                  </a:lnTo>
                  <a:lnTo>
                    <a:pt x="2425" y="1044"/>
                  </a:lnTo>
                  <a:lnTo>
                    <a:pt x="2391" y="1347"/>
                  </a:lnTo>
                  <a:lnTo>
                    <a:pt x="2391" y="1818"/>
                  </a:lnTo>
                  <a:lnTo>
                    <a:pt x="2391" y="2054"/>
                  </a:lnTo>
                  <a:lnTo>
                    <a:pt x="2358" y="2290"/>
                  </a:lnTo>
                  <a:lnTo>
                    <a:pt x="2290" y="2424"/>
                  </a:lnTo>
                  <a:lnTo>
                    <a:pt x="2189" y="2492"/>
                  </a:lnTo>
                  <a:lnTo>
                    <a:pt x="1886" y="2492"/>
                  </a:lnTo>
                  <a:lnTo>
                    <a:pt x="1550" y="2458"/>
                  </a:lnTo>
                  <a:lnTo>
                    <a:pt x="1280" y="2424"/>
                  </a:lnTo>
                  <a:lnTo>
                    <a:pt x="674" y="2424"/>
                  </a:lnTo>
                  <a:lnTo>
                    <a:pt x="371" y="2458"/>
                  </a:lnTo>
                  <a:lnTo>
                    <a:pt x="203" y="2424"/>
                  </a:lnTo>
                  <a:lnTo>
                    <a:pt x="136" y="2391"/>
                  </a:lnTo>
                  <a:lnTo>
                    <a:pt x="136" y="2323"/>
                  </a:lnTo>
                  <a:lnTo>
                    <a:pt x="136" y="2054"/>
                  </a:lnTo>
                  <a:lnTo>
                    <a:pt x="136" y="1785"/>
                  </a:lnTo>
                  <a:lnTo>
                    <a:pt x="203" y="1246"/>
                  </a:lnTo>
                  <a:lnTo>
                    <a:pt x="237" y="774"/>
                  </a:lnTo>
                  <a:lnTo>
                    <a:pt x="203" y="269"/>
                  </a:lnTo>
                  <a:lnTo>
                    <a:pt x="472" y="202"/>
                  </a:lnTo>
                  <a:lnTo>
                    <a:pt x="1449" y="202"/>
                  </a:lnTo>
                  <a:lnTo>
                    <a:pt x="1684" y="135"/>
                  </a:lnTo>
                  <a:close/>
                  <a:moveTo>
                    <a:pt x="1684" y="0"/>
                  </a:moveTo>
                  <a:lnTo>
                    <a:pt x="1247" y="67"/>
                  </a:lnTo>
                  <a:lnTo>
                    <a:pt x="472" y="67"/>
                  </a:lnTo>
                  <a:lnTo>
                    <a:pt x="237" y="135"/>
                  </a:lnTo>
                  <a:lnTo>
                    <a:pt x="237" y="101"/>
                  </a:lnTo>
                  <a:lnTo>
                    <a:pt x="203" y="67"/>
                  </a:lnTo>
                  <a:lnTo>
                    <a:pt x="169" y="67"/>
                  </a:lnTo>
                  <a:lnTo>
                    <a:pt x="136" y="101"/>
                  </a:lnTo>
                  <a:lnTo>
                    <a:pt x="102" y="404"/>
                  </a:lnTo>
                  <a:lnTo>
                    <a:pt x="68" y="741"/>
                  </a:lnTo>
                  <a:lnTo>
                    <a:pt x="68" y="1044"/>
                  </a:lnTo>
                  <a:lnTo>
                    <a:pt x="68" y="1347"/>
                  </a:lnTo>
                  <a:lnTo>
                    <a:pt x="1" y="1953"/>
                  </a:lnTo>
                  <a:lnTo>
                    <a:pt x="1" y="2222"/>
                  </a:lnTo>
                  <a:lnTo>
                    <a:pt x="1" y="2525"/>
                  </a:lnTo>
                  <a:lnTo>
                    <a:pt x="35" y="2559"/>
                  </a:lnTo>
                  <a:lnTo>
                    <a:pt x="68" y="2593"/>
                  </a:lnTo>
                  <a:lnTo>
                    <a:pt x="674" y="2593"/>
                  </a:lnTo>
                  <a:lnTo>
                    <a:pt x="1280" y="2559"/>
                  </a:lnTo>
                  <a:lnTo>
                    <a:pt x="1516" y="2593"/>
                  </a:lnTo>
                  <a:lnTo>
                    <a:pt x="1752" y="2626"/>
                  </a:lnTo>
                  <a:lnTo>
                    <a:pt x="1987" y="2660"/>
                  </a:lnTo>
                  <a:lnTo>
                    <a:pt x="2223" y="2660"/>
                  </a:lnTo>
                  <a:lnTo>
                    <a:pt x="2290" y="2626"/>
                  </a:lnTo>
                  <a:lnTo>
                    <a:pt x="2358" y="2593"/>
                  </a:lnTo>
                  <a:lnTo>
                    <a:pt x="2459" y="2458"/>
                  </a:lnTo>
                  <a:lnTo>
                    <a:pt x="2526" y="2290"/>
                  </a:lnTo>
                  <a:lnTo>
                    <a:pt x="2526" y="2088"/>
                  </a:lnTo>
                  <a:lnTo>
                    <a:pt x="2526" y="1650"/>
                  </a:lnTo>
                  <a:lnTo>
                    <a:pt x="2526" y="1347"/>
                  </a:lnTo>
                  <a:lnTo>
                    <a:pt x="2526" y="976"/>
                  </a:lnTo>
                  <a:lnTo>
                    <a:pt x="2526" y="572"/>
                  </a:lnTo>
                  <a:lnTo>
                    <a:pt x="2459" y="370"/>
                  </a:lnTo>
                  <a:lnTo>
                    <a:pt x="2391" y="202"/>
                  </a:lnTo>
                  <a:lnTo>
                    <a:pt x="2257" y="101"/>
                  </a:lnTo>
                  <a:lnTo>
                    <a:pt x="2088"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66" name="Google Shape;1866;p12"/>
            <p:cNvSpPr/>
            <p:nvPr/>
          </p:nvSpPr>
          <p:spPr>
            <a:xfrm>
              <a:off x="3119407" y="4846668"/>
              <a:ext cx="139129" cy="87180"/>
            </a:xfrm>
            <a:custGeom>
              <a:avLst/>
              <a:gdLst/>
              <a:ahLst/>
              <a:cxnLst/>
              <a:rect l="l" t="t" r="r" b="b"/>
              <a:pathLst>
                <a:path w="2796" h="1752" extrusionOk="0">
                  <a:moveTo>
                    <a:pt x="506" y="102"/>
                  </a:moveTo>
                  <a:lnTo>
                    <a:pt x="910" y="135"/>
                  </a:lnTo>
                  <a:lnTo>
                    <a:pt x="1381" y="169"/>
                  </a:lnTo>
                  <a:lnTo>
                    <a:pt x="1819" y="203"/>
                  </a:lnTo>
                  <a:lnTo>
                    <a:pt x="2156" y="236"/>
                  </a:lnTo>
                  <a:lnTo>
                    <a:pt x="2492" y="236"/>
                  </a:lnTo>
                  <a:lnTo>
                    <a:pt x="2560" y="270"/>
                  </a:lnTo>
                  <a:lnTo>
                    <a:pt x="2593" y="337"/>
                  </a:lnTo>
                  <a:lnTo>
                    <a:pt x="2661" y="607"/>
                  </a:lnTo>
                  <a:lnTo>
                    <a:pt x="2661" y="876"/>
                  </a:lnTo>
                  <a:lnTo>
                    <a:pt x="2661" y="1078"/>
                  </a:lnTo>
                  <a:lnTo>
                    <a:pt x="2661" y="1246"/>
                  </a:lnTo>
                  <a:lnTo>
                    <a:pt x="2627" y="1448"/>
                  </a:lnTo>
                  <a:lnTo>
                    <a:pt x="2593" y="1516"/>
                  </a:lnTo>
                  <a:lnTo>
                    <a:pt x="2560" y="1549"/>
                  </a:lnTo>
                  <a:lnTo>
                    <a:pt x="2425" y="1617"/>
                  </a:lnTo>
                  <a:lnTo>
                    <a:pt x="2156" y="1617"/>
                  </a:lnTo>
                  <a:lnTo>
                    <a:pt x="1718" y="1583"/>
                  </a:lnTo>
                  <a:lnTo>
                    <a:pt x="1482" y="1549"/>
                  </a:lnTo>
                  <a:lnTo>
                    <a:pt x="1280" y="1549"/>
                  </a:lnTo>
                  <a:lnTo>
                    <a:pt x="708" y="1617"/>
                  </a:lnTo>
                  <a:lnTo>
                    <a:pt x="472" y="1583"/>
                  </a:lnTo>
                  <a:lnTo>
                    <a:pt x="405" y="1583"/>
                  </a:lnTo>
                  <a:lnTo>
                    <a:pt x="371" y="1549"/>
                  </a:lnTo>
                  <a:lnTo>
                    <a:pt x="338" y="1482"/>
                  </a:lnTo>
                  <a:lnTo>
                    <a:pt x="304" y="1280"/>
                  </a:lnTo>
                  <a:lnTo>
                    <a:pt x="304" y="741"/>
                  </a:lnTo>
                  <a:lnTo>
                    <a:pt x="304" y="203"/>
                  </a:lnTo>
                  <a:lnTo>
                    <a:pt x="304" y="169"/>
                  </a:lnTo>
                  <a:lnTo>
                    <a:pt x="270" y="135"/>
                  </a:lnTo>
                  <a:lnTo>
                    <a:pt x="506" y="102"/>
                  </a:lnTo>
                  <a:close/>
                  <a:moveTo>
                    <a:pt x="338" y="1"/>
                  </a:moveTo>
                  <a:lnTo>
                    <a:pt x="169" y="34"/>
                  </a:lnTo>
                  <a:lnTo>
                    <a:pt x="35" y="135"/>
                  </a:lnTo>
                  <a:lnTo>
                    <a:pt x="1" y="169"/>
                  </a:lnTo>
                  <a:lnTo>
                    <a:pt x="35" y="203"/>
                  </a:lnTo>
                  <a:lnTo>
                    <a:pt x="68" y="236"/>
                  </a:lnTo>
                  <a:lnTo>
                    <a:pt x="102" y="203"/>
                  </a:lnTo>
                  <a:lnTo>
                    <a:pt x="203" y="169"/>
                  </a:lnTo>
                  <a:lnTo>
                    <a:pt x="237" y="152"/>
                  </a:lnTo>
                  <a:lnTo>
                    <a:pt x="237" y="152"/>
                  </a:lnTo>
                  <a:lnTo>
                    <a:pt x="237" y="169"/>
                  </a:lnTo>
                  <a:lnTo>
                    <a:pt x="169" y="506"/>
                  </a:lnTo>
                  <a:lnTo>
                    <a:pt x="136" y="809"/>
                  </a:lnTo>
                  <a:lnTo>
                    <a:pt x="136" y="1011"/>
                  </a:lnTo>
                  <a:lnTo>
                    <a:pt x="169" y="1213"/>
                  </a:lnTo>
                  <a:lnTo>
                    <a:pt x="169" y="1415"/>
                  </a:lnTo>
                  <a:lnTo>
                    <a:pt x="169" y="1617"/>
                  </a:lnTo>
                  <a:lnTo>
                    <a:pt x="203" y="1684"/>
                  </a:lnTo>
                  <a:lnTo>
                    <a:pt x="237" y="1684"/>
                  </a:lnTo>
                  <a:lnTo>
                    <a:pt x="540" y="1718"/>
                  </a:lnTo>
                  <a:lnTo>
                    <a:pt x="843" y="1718"/>
                  </a:lnTo>
                  <a:lnTo>
                    <a:pt x="1482" y="1684"/>
                  </a:lnTo>
                  <a:lnTo>
                    <a:pt x="1718" y="1718"/>
                  </a:lnTo>
                  <a:lnTo>
                    <a:pt x="1954" y="1751"/>
                  </a:lnTo>
                  <a:lnTo>
                    <a:pt x="2459" y="1751"/>
                  </a:lnTo>
                  <a:lnTo>
                    <a:pt x="2593" y="1684"/>
                  </a:lnTo>
                  <a:lnTo>
                    <a:pt x="2728" y="1583"/>
                  </a:lnTo>
                  <a:lnTo>
                    <a:pt x="2762" y="1415"/>
                  </a:lnTo>
                  <a:lnTo>
                    <a:pt x="2795" y="1213"/>
                  </a:lnTo>
                  <a:lnTo>
                    <a:pt x="2795" y="842"/>
                  </a:lnTo>
                  <a:lnTo>
                    <a:pt x="2762" y="506"/>
                  </a:lnTo>
                  <a:lnTo>
                    <a:pt x="2694" y="304"/>
                  </a:lnTo>
                  <a:lnTo>
                    <a:pt x="2627" y="203"/>
                  </a:lnTo>
                  <a:lnTo>
                    <a:pt x="2560" y="135"/>
                  </a:lnTo>
                  <a:lnTo>
                    <a:pt x="2391" y="102"/>
                  </a:lnTo>
                  <a:lnTo>
                    <a:pt x="2223" y="135"/>
                  </a:lnTo>
                  <a:lnTo>
                    <a:pt x="2088" y="135"/>
                  </a:lnTo>
                  <a:lnTo>
                    <a:pt x="1920" y="102"/>
                  </a:lnTo>
                  <a:lnTo>
                    <a:pt x="1617" y="68"/>
                  </a:lnTo>
                  <a:lnTo>
                    <a:pt x="1146" y="34"/>
                  </a:lnTo>
                  <a:lnTo>
                    <a:pt x="674"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67" name="Google Shape;1867;p12"/>
            <p:cNvSpPr/>
            <p:nvPr/>
          </p:nvSpPr>
          <p:spPr>
            <a:xfrm>
              <a:off x="3023918" y="5096314"/>
              <a:ext cx="127386" cy="50307"/>
            </a:xfrm>
            <a:custGeom>
              <a:avLst/>
              <a:gdLst/>
              <a:ahLst/>
              <a:cxnLst/>
              <a:rect l="l" t="t" r="r" b="b"/>
              <a:pathLst>
                <a:path w="2560" h="1011" extrusionOk="0">
                  <a:moveTo>
                    <a:pt x="1314" y="0"/>
                  </a:moveTo>
                  <a:lnTo>
                    <a:pt x="135" y="34"/>
                  </a:lnTo>
                  <a:lnTo>
                    <a:pt x="102" y="68"/>
                  </a:lnTo>
                  <a:lnTo>
                    <a:pt x="68" y="68"/>
                  </a:lnTo>
                  <a:lnTo>
                    <a:pt x="1" y="270"/>
                  </a:lnTo>
                  <a:lnTo>
                    <a:pt x="1" y="472"/>
                  </a:lnTo>
                  <a:lnTo>
                    <a:pt x="34" y="909"/>
                  </a:lnTo>
                  <a:lnTo>
                    <a:pt x="34" y="1010"/>
                  </a:lnTo>
                  <a:lnTo>
                    <a:pt x="169" y="1010"/>
                  </a:lnTo>
                  <a:lnTo>
                    <a:pt x="135" y="606"/>
                  </a:lnTo>
                  <a:lnTo>
                    <a:pt x="102" y="371"/>
                  </a:lnTo>
                  <a:lnTo>
                    <a:pt x="135" y="169"/>
                  </a:lnTo>
                  <a:lnTo>
                    <a:pt x="1280" y="135"/>
                  </a:lnTo>
                  <a:lnTo>
                    <a:pt x="1920" y="101"/>
                  </a:lnTo>
                  <a:lnTo>
                    <a:pt x="2257" y="101"/>
                  </a:lnTo>
                  <a:lnTo>
                    <a:pt x="2391" y="135"/>
                  </a:lnTo>
                  <a:lnTo>
                    <a:pt x="2425" y="169"/>
                  </a:lnTo>
                  <a:lnTo>
                    <a:pt x="2459" y="1010"/>
                  </a:lnTo>
                  <a:lnTo>
                    <a:pt x="2560" y="1010"/>
                  </a:lnTo>
                  <a:lnTo>
                    <a:pt x="2526" y="34"/>
                  </a:lnTo>
                  <a:lnTo>
                    <a:pt x="2526"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68" name="Google Shape;1868;p12"/>
            <p:cNvSpPr/>
            <p:nvPr/>
          </p:nvSpPr>
          <p:spPr>
            <a:xfrm>
              <a:off x="2330363" y="4724358"/>
              <a:ext cx="2218152" cy="422263"/>
            </a:xfrm>
            <a:custGeom>
              <a:avLst/>
              <a:gdLst/>
              <a:ahLst/>
              <a:cxnLst/>
              <a:rect l="l" t="t" r="r" b="b"/>
              <a:pathLst>
                <a:path w="44577" h="8486" extrusionOk="0">
                  <a:moveTo>
                    <a:pt x="2222" y="1"/>
                  </a:moveTo>
                  <a:lnTo>
                    <a:pt x="1583" y="35"/>
                  </a:lnTo>
                  <a:lnTo>
                    <a:pt x="1280" y="35"/>
                  </a:lnTo>
                  <a:lnTo>
                    <a:pt x="943" y="68"/>
                  </a:lnTo>
                  <a:lnTo>
                    <a:pt x="606" y="169"/>
                  </a:lnTo>
                  <a:lnTo>
                    <a:pt x="472" y="203"/>
                  </a:lnTo>
                  <a:lnTo>
                    <a:pt x="337" y="304"/>
                  </a:lnTo>
                  <a:lnTo>
                    <a:pt x="303" y="371"/>
                  </a:lnTo>
                  <a:lnTo>
                    <a:pt x="236" y="439"/>
                  </a:lnTo>
                  <a:lnTo>
                    <a:pt x="202" y="607"/>
                  </a:lnTo>
                  <a:lnTo>
                    <a:pt x="236" y="977"/>
                  </a:lnTo>
                  <a:lnTo>
                    <a:pt x="169" y="1583"/>
                  </a:lnTo>
                  <a:lnTo>
                    <a:pt x="135" y="2156"/>
                  </a:lnTo>
                  <a:lnTo>
                    <a:pt x="68" y="2762"/>
                  </a:lnTo>
                  <a:lnTo>
                    <a:pt x="34" y="3368"/>
                  </a:lnTo>
                  <a:lnTo>
                    <a:pt x="0" y="5927"/>
                  </a:lnTo>
                  <a:lnTo>
                    <a:pt x="0" y="7206"/>
                  </a:lnTo>
                  <a:lnTo>
                    <a:pt x="68" y="8485"/>
                  </a:lnTo>
                  <a:lnTo>
                    <a:pt x="202" y="8485"/>
                  </a:lnTo>
                  <a:lnTo>
                    <a:pt x="202" y="7475"/>
                  </a:lnTo>
                  <a:lnTo>
                    <a:pt x="236" y="6432"/>
                  </a:lnTo>
                  <a:lnTo>
                    <a:pt x="202" y="4378"/>
                  </a:lnTo>
                  <a:lnTo>
                    <a:pt x="236" y="3435"/>
                  </a:lnTo>
                  <a:lnTo>
                    <a:pt x="303" y="2492"/>
                  </a:lnTo>
                  <a:lnTo>
                    <a:pt x="371" y="1550"/>
                  </a:lnTo>
                  <a:lnTo>
                    <a:pt x="404" y="607"/>
                  </a:lnTo>
                  <a:lnTo>
                    <a:pt x="404" y="540"/>
                  </a:lnTo>
                  <a:lnTo>
                    <a:pt x="438" y="472"/>
                  </a:lnTo>
                  <a:lnTo>
                    <a:pt x="573" y="371"/>
                  </a:lnTo>
                  <a:lnTo>
                    <a:pt x="741" y="304"/>
                  </a:lnTo>
                  <a:lnTo>
                    <a:pt x="977" y="237"/>
                  </a:lnTo>
                  <a:lnTo>
                    <a:pt x="1280" y="169"/>
                  </a:lnTo>
                  <a:lnTo>
                    <a:pt x="1616" y="169"/>
                  </a:lnTo>
                  <a:lnTo>
                    <a:pt x="2323" y="136"/>
                  </a:lnTo>
                  <a:lnTo>
                    <a:pt x="3064" y="136"/>
                  </a:lnTo>
                  <a:lnTo>
                    <a:pt x="3737" y="169"/>
                  </a:lnTo>
                  <a:lnTo>
                    <a:pt x="4613" y="203"/>
                  </a:lnTo>
                  <a:lnTo>
                    <a:pt x="7475" y="270"/>
                  </a:lnTo>
                  <a:lnTo>
                    <a:pt x="8687" y="304"/>
                  </a:lnTo>
                  <a:lnTo>
                    <a:pt x="9192" y="270"/>
                  </a:lnTo>
                  <a:lnTo>
                    <a:pt x="19528" y="270"/>
                  </a:lnTo>
                  <a:lnTo>
                    <a:pt x="25588" y="304"/>
                  </a:lnTo>
                  <a:lnTo>
                    <a:pt x="31648" y="371"/>
                  </a:lnTo>
                  <a:lnTo>
                    <a:pt x="37675" y="439"/>
                  </a:lnTo>
                  <a:lnTo>
                    <a:pt x="43735" y="472"/>
                  </a:lnTo>
                  <a:lnTo>
                    <a:pt x="43870" y="573"/>
                  </a:lnTo>
                  <a:lnTo>
                    <a:pt x="44004" y="708"/>
                  </a:lnTo>
                  <a:lnTo>
                    <a:pt x="44105" y="843"/>
                  </a:lnTo>
                  <a:lnTo>
                    <a:pt x="44173" y="1045"/>
                  </a:lnTo>
                  <a:lnTo>
                    <a:pt x="44307" y="1449"/>
                  </a:lnTo>
                  <a:lnTo>
                    <a:pt x="44341" y="1920"/>
                  </a:lnTo>
                  <a:lnTo>
                    <a:pt x="44341" y="2391"/>
                  </a:lnTo>
                  <a:lnTo>
                    <a:pt x="44341" y="2829"/>
                  </a:lnTo>
                  <a:lnTo>
                    <a:pt x="44307" y="3570"/>
                  </a:lnTo>
                  <a:lnTo>
                    <a:pt x="44274" y="4815"/>
                  </a:lnTo>
                  <a:lnTo>
                    <a:pt x="44240" y="6061"/>
                  </a:lnTo>
                  <a:lnTo>
                    <a:pt x="44173" y="7273"/>
                  </a:lnTo>
                  <a:lnTo>
                    <a:pt x="44173" y="7879"/>
                  </a:lnTo>
                  <a:lnTo>
                    <a:pt x="44173" y="8485"/>
                  </a:lnTo>
                  <a:lnTo>
                    <a:pt x="44408" y="8485"/>
                  </a:lnTo>
                  <a:lnTo>
                    <a:pt x="44408" y="7644"/>
                  </a:lnTo>
                  <a:lnTo>
                    <a:pt x="44408" y="5792"/>
                  </a:lnTo>
                  <a:lnTo>
                    <a:pt x="44476" y="4411"/>
                  </a:lnTo>
                  <a:lnTo>
                    <a:pt x="44543" y="3031"/>
                  </a:lnTo>
                  <a:lnTo>
                    <a:pt x="44577" y="2391"/>
                  </a:lnTo>
                  <a:lnTo>
                    <a:pt x="44543" y="1987"/>
                  </a:lnTo>
                  <a:lnTo>
                    <a:pt x="44509" y="1583"/>
                  </a:lnTo>
                  <a:lnTo>
                    <a:pt x="44442" y="1213"/>
                  </a:lnTo>
                  <a:lnTo>
                    <a:pt x="44341" y="843"/>
                  </a:lnTo>
                  <a:lnTo>
                    <a:pt x="44240" y="708"/>
                  </a:lnTo>
                  <a:lnTo>
                    <a:pt x="44139" y="573"/>
                  </a:lnTo>
                  <a:lnTo>
                    <a:pt x="44038" y="439"/>
                  </a:lnTo>
                  <a:lnTo>
                    <a:pt x="43903" y="371"/>
                  </a:lnTo>
                  <a:lnTo>
                    <a:pt x="43870" y="270"/>
                  </a:lnTo>
                  <a:lnTo>
                    <a:pt x="43836" y="237"/>
                  </a:lnTo>
                  <a:lnTo>
                    <a:pt x="43802" y="237"/>
                  </a:lnTo>
                  <a:lnTo>
                    <a:pt x="37944" y="203"/>
                  </a:lnTo>
                  <a:lnTo>
                    <a:pt x="32052" y="136"/>
                  </a:lnTo>
                  <a:lnTo>
                    <a:pt x="26194" y="68"/>
                  </a:lnTo>
                  <a:lnTo>
                    <a:pt x="20336" y="35"/>
                  </a:lnTo>
                  <a:lnTo>
                    <a:pt x="6532" y="35"/>
                  </a:lnTo>
                  <a:lnTo>
                    <a:pt x="5151" y="68"/>
                  </a:lnTo>
                  <a:lnTo>
                    <a:pt x="4108" y="35"/>
                  </a:lnTo>
                  <a:lnTo>
                    <a:pt x="2828"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69" name="Google Shape;1869;p12"/>
            <p:cNvSpPr/>
            <p:nvPr/>
          </p:nvSpPr>
          <p:spPr>
            <a:xfrm>
              <a:off x="4044197" y="5086262"/>
              <a:ext cx="127386" cy="60359"/>
            </a:xfrm>
            <a:custGeom>
              <a:avLst/>
              <a:gdLst/>
              <a:ahLst/>
              <a:cxnLst/>
              <a:rect l="l" t="t" r="r" b="b"/>
              <a:pathLst>
                <a:path w="2560" h="1213" extrusionOk="0">
                  <a:moveTo>
                    <a:pt x="270" y="0"/>
                  </a:moveTo>
                  <a:lnTo>
                    <a:pt x="102" y="34"/>
                  </a:lnTo>
                  <a:lnTo>
                    <a:pt x="34" y="68"/>
                  </a:lnTo>
                  <a:lnTo>
                    <a:pt x="1" y="101"/>
                  </a:lnTo>
                  <a:lnTo>
                    <a:pt x="1" y="135"/>
                  </a:lnTo>
                  <a:lnTo>
                    <a:pt x="34" y="169"/>
                  </a:lnTo>
                  <a:lnTo>
                    <a:pt x="102" y="202"/>
                  </a:lnTo>
                  <a:lnTo>
                    <a:pt x="68" y="404"/>
                  </a:lnTo>
                  <a:lnTo>
                    <a:pt x="68" y="573"/>
                  </a:lnTo>
                  <a:lnTo>
                    <a:pt x="102" y="977"/>
                  </a:lnTo>
                  <a:lnTo>
                    <a:pt x="102" y="1212"/>
                  </a:lnTo>
                  <a:lnTo>
                    <a:pt x="270" y="1212"/>
                  </a:lnTo>
                  <a:lnTo>
                    <a:pt x="236" y="674"/>
                  </a:lnTo>
                  <a:lnTo>
                    <a:pt x="169" y="169"/>
                  </a:lnTo>
                  <a:lnTo>
                    <a:pt x="708" y="169"/>
                  </a:lnTo>
                  <a:lnTo>
                    <a:pt x="1516" y="202"/>
                  </a:lnTo>
                  <a:lnTo>
                    <a:pt x="2223" y="202"/>
                  </a:lnTo>
                  <a:lnTo>
                    <a:pt x="2290" y="236"/>
                  </a:lnTo>
                  <a:lnTo>
                    <a:pt x="2324" y="337"/>
                  </a:lnTo>
                  <a:lnTo>
                    <a:pt x="2391" y="438"/>
                  </a:lnTo>
                  <a:lnTo>
                    <a:pt x="2391" y="573"/>
                  </a:lnTo>
                  <a:lnTo>
                    <a:pt x="2391" y="876"/>
                  </a:lnTo>
                  <a:lnTo>
                    <a:pt x="2391" y="1212"/>
                  </a:lnTo>
                  <a:lnTo>
                    <a:pt x="2526" y="1212"/>
                  </a:lnTo>
                  <a:lnTo>
                    <a:pt x="2526" y="977"/>
                  </a:lnTo>
                  <a:lnTo>
                    <a:pt x="2559" y="606"/>
                  </a:lnTo>
                  <a:lnTo>
                    <a:pt x="2526" y="404"/>
                  </a:lnTo>
                  <a:lnTo>
                    <a:pt x="2458" y="236"/>
                  </a:lnTo>
                  <a:lnTo>
                    <a:pt x="2391" y="169"/>
                  </a:lnTo>
                  <a:lnTo>
                    <a:pt x="2324" y="101"/>
                  </a:lnTo>
                  <a:lnTo>
                    <a:pt x="2223" y="68"/>
                  </a:lnTo>
                  <a:lnTo>
                    <a:pt x="2155" y="34"/>
                  </a:lnTo>
                  <a:lnTo>
                    <a:pt x="1718" y="34"/>
                  </a:lnTo>
                  <a:lnTo>
                    <a:pt x="573"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grpSp>
      <p:grpSp>
        <p:nvGrpSpPr>
          <p:cNvPr id="1870" name="Google Shape;1870;p12"/>
          <p:cNvGrpSpPr/>
          <p:nvPr/>
        </p:nvGrpSpPr>
        <p:grpSpPr>
          <a:xfrm>
            <a:off x="892131" y="4842769"/>
            <a:ext cx="489240" cy="2019393"/>
            <a:chOff x="135698" y="3632076"/>
            <a:chExt cx="366930" cy="1514545"/>
          </a:xfrm>
        </p:grpSpPr>
        <p:sp>
          <p:nvSpPr>
            <p:cNvPr id="1871" name="Google Shape;1871;p12"/>
            <p:cNvSpPr/>
            <p:nvPr/>
          </p:nvSpPr>
          <p:spPr>
            <a:xfrm>
              <a:off x="135698" y="3632076"/>
              <a:ext cx="366930" cy="1514545"/>
            </a:xfrm>
            <a:custGeom>
              <a:avLst/>
              <a:gdLst/>
              <a:ahLst/>
              <a:cxnLst/>
              <a:rect l="l" t="t" r="r" b="b"/>
              <a:pathLst>
                <a:path w="7374" h="30437" extrusionOk="0">
                  <a:moveTo>
                    <a:pt x="2660" y="236"/>
                  </a:moveTo>
                  <a:lnTo>
                    <a:pt x="2862" y="270"/>
                  </a:lnTo>
                  <a:lnTo>
                    <a:pt x="2997" y="337"/>
                  </a:lnTo>
                  <a:lnTo>
                    <a:pt x="3131" y="404"/>
                  </a:lnTo>
                  <a:lnTo>
                    <a:pt x="3199" y="539"/>
                  </a:lnTo>
                  <a:lnTo>
                    <a:pt x="3266" y="674"/>
                  </a:lnTo>
                  <a:lnTo>
                    <a:pt x="3333" y="842"/>
                  </a:lnTo>
                  <a:lnTo>
                    <a:pt x="3401" y="1179"/>
                  </a:lnTo>
                  <a:lnTo>
                    <a:pt x="3468" y="1650"/>
                  </a:lnTo>
                  <a:lnTo>
                    <a:pt x="3535" y="2155"/>
                  </a:lnTo>
                  <a:lnTo>
                    <a:pt x="3569" y="3165"/>
                  </a:lnTo>
                  <a:lnTo>
                    <a:pt x="3603" y="3502"/>
                  </a:lnTo>
                  <a:lnTo>
                    <a:pt x="3670" y="3805"/>
                  </a:lnTo>
                  <a:lnTo>
                    <a:pt x="3535" y="3872"/>
                  </a:lnTo>
                  <a:lnTo>
                    <a:pt x="3502" y="3805"/>
                  </a:lnTo>
                  <a:lnTo>
                    <a:pt x="3468" y="3771"/>
                  </a:lnTo>
                  <a:lnTo>
                    <a:pt x="3367" y="3771"/>
                  </a:lnTo>
                  <a:lnTo>
                    <a:pt x="3367" y="3839"/>
                  </a:lnTo>
                  <a:lnTo>
                    <a:pt x="3367" y="3940"/>
                  </a:lnTo>
                  <a:lnTo>
                    <a:pt x="3030" y="4074"/>
                  </a:lnTo>
                  <a:lnTo>
                    <a:pt x="2727" y="4142"/>
                  </a:lnTo>
                  <a:lnTo>
                    <a:pt x="2357" y="4175"/>
                  </a:lnTo>
                  <a:lnTo>
                    <a:pt x="1987" y="4142"/>
                  </a:lnTo>
                  <a:lnTo>
                    <a:pt x="1583" y="4175"/>
                  </a:lnTo>
                  <a:lnTo>
                    <a:pt x="1381" y="4175"/>
                  </a:lnTo>
                  <a:lnTo>
                    <a:pt x="1145" y="4142"/>
                  </a:lnTo>
                  <a:lnTo>
                    <a:pt x="976" y="4108"/>
                  </a:lnTo>
                  <a:lnTo>
                    <a:pt x="808" y="4041"/>
                  </a:lnTo>
                  <a:lnTo>
                    <a:pt x="707" y="3872"/>
                  </a:lnTo>
                  <a:lnTo>
                    <a:pt x="640" y="3670"/>
                  </a:lnTo>
                  <a:lnTo>
                    <a:pt x="471" y="2896"/>
                  </a:lnTo>
                  <a:lnTo>
                    <a:pt x="337" y="2121"/>
                  </a:lnTo>
                  <a:lnTo>
                    <a:pt x="269" y="1751"/>
                  </a:lnTo>
                  <a:lnTo>
                    <a:pt x="236" y="1381"/>
                  </a:lnTo>
                  <a:lnTo>
                    <a:pt x="236" y="977"/>
                  </a:lnTo>
                  <a:lnTo>
                    <a:pt x="269" y="573"/>
                  </a:lnTo>
                  <a:lnTo>
                    <a:pt x="640" y="472"/>
                  </a:lnTo>
                  <a:lnTo>
                    <a:pt x="1044" y="371"/>
                  </a:lnTo>
                  <a:lnTo>
                    <a:pt x="1448" y="303"/>
                  </a:lnTo>
                  <a:lnTo>
                    <a:pt x="1886" y="236"/>
                  </a:lnTo>
                  <a:close/>
                  <a:moveTo>
                    <a:pt x="3401" y="4175"/>
                  </a:moveTo>
                  <a:lnTo>
                    <a:pt x="3502" y="4579"/>
                  </a:lnTo>
                  <a:lnTo>
                    <a:pt x="3603" y="5118"/>
                  </a:lnTo>
                  <a:lnTo>
                    <a:pt x="3603" y="5320"/>
                  </a:lnTo>
                  <a:lnTo>
                    <a:pt x="3636" y="5488"/>
                  </a:lnTo>
                  <a:lnTo>
                    <a:pt x="2997" y="5556"/>
                  </a:lnTo>
                  <a:lnTo>
                    <a:pt x="2357" y="5623"/>
                  </a:lnTo>
                  <a:lnTo>
                    <a:pt x="1818" y="5690"/>
                  </a:lnTo>
                  <a:lnTo>
                    <a:pt x="1549" y="5724"/>
                  </a:lnTo>
                  <a:lnTo>
                    <a:pt x="1313" y="5825"/>
                  </a:lnTo>
                  <a:lnTo>
                    <a:pt x="1313" y="5657"/>
                  </a:lnTo>
                  <a:lnTo>
                    <a:pt x="1279" y="5488"/>
                  </a:lnTo>
                  <a:lnTo>
                    <a:pt x="1212" y="5152"/>
                  </a:lnTo>
                  <a:lnTo>
                    <a:pt x="1178" y="4748"/>
                  </a:lnTo>
                  <a:lnTo>
                    <a:pt x="1145" y="4377"/>
                  </a:lnTo>
                  <a:lnTo>
                    <a:pt x="1482" y="4377"/>
                  </a:lnTo>
                  <a:lnTo>
                    <a:pt x="1785" y="4344"/>
                  </a:lnTo>
                  <a:lnTo>
                    <a:pt x="2222" y="4377"/>
                  </a:lnTo>
                  <a:lnTo>
                    <a:pt x="2626" y="4344"/>
                  </a:lnTo>
                  <a:lnTo>
                    <a:pt x="3030" y="4310"/>
                  </a:lnTo>
                  <a:lnTo>
                    <a:pt x="3199" y="4243"/>
                  </a:lnTo>
                  <a:lnTo>
                    <a:pt x="3401" y="4175"/>
                  </a:lnTo>
                  <a:close/>
                  <a:moveTo>
                    <a:pt x="3737" y="5724"/>
                  </a:moveTo>
                  <a:lnTo>
                    <a:pt x="3838" y="5758"/>
                  </a:lnTo>
                  <a:lnTo>
                    <a:pt x="3906" y="5791"/>
                  </a:lnTo>
                  <a:lnTo>
                    <a:pt x="3939" y="5892"/>
                  </a:lnTo>
                  <a:lnTo>
                    <a:pt x="3973" y="5993"/>
                  </a:lnTo>
                  <a:lnTo>
                    <a:pt x="4007" y="6263"/>
                  </a:lnTo>
                  <a:lnTo>
                    <a:pt x="3973" y="6532"/>
                  </a:lnTo>
                  <a:lnTo>
                    <a:pt x="2593" y="6700"/>
                  </a:lnTo>
                  <a:lnTo>
                    <a:pt x="2020" y="6768"/>
                  </a:lnTo>
                  <a:lnTo>
                    <a:pt x="1751" y="6835"/>
                  </a:lnTo>
                  <a:lnTo>
                    <a:pt x="1448" y="6936"/>
                  </a:lnTo>
                  <a:lnTo>
                    <a:pt x="1279" y="6667"/>
                  </a:lnTo>
                  <a:lnTo>
                    <a:pt x="1212" y="6532"/>
                  </a:lnTo>
                  <a:lnTo>
                    <a:pt x="1145" y="6397"/>
                  </a:lnTo>
                  <a:lnTo>
                    <a:pt x="1111" y="6229"/>
                  </a:lnTo>
                  <a:lnTo>
                    <a:pt x="1111" y="6061"/>
                  </a:lnTo>
                  <a:lnTo>
                    <a:pt x="1246" y="6061"/>
                  </a:lnTo>
                  <a:lnTo>
                    <a:pt x="1414" y="6027"/>
                  </a:lnTo>
                  <a:lnTo>
                    <a:pt x="1684" y="5960"/>
                  </a:lnTo>
                  <a:lnTo>
                    <a:pt x="2290" y="5859"/>
                  </a:lnTo>
                  <a:lnTo>
                    <a:pt x="2896" y="5791"/>
                  </a:lnTo>
                  <a:lnTo>
                    <a:pt x="3737" y="5724"/>
                  </a:lnTo>
                  <a:close/>
                  <a:moveTo>
                    <a:pt x="3771" y="6801"/>
                  </a:moveTo>
                  <a:lnTo>
                    <a:pt x="3771" y="6835"/>
                  </a:lnTo>
                  <a:lnTo>
                    <a:pt x="3771" y="7374"/>
                  </a:lnTo>
                  <a:lnTo>
                    <a:pt x="3838" y="7946"/>
                  </a:lnTo>
                  <a:lnTo>
                    <a:pt x="3906" y="8518"/>
                  </a:lnTo>
                  <a:lnTo>
                    <a:pt x="3973" y="9057"/>
                  </a:lnTo>
                  <a:lnTo>
                    <a:pt x="4040" y="9798"/>
                  </a:lnTo>
                  <a:lnTo>
                    <a:pt x="4175" y="10505"/>
                  </a:lnTo>
                  <a:lnTo>
                    <a:pt x="4276" y="10942"/>
                  </a:lnTo>
                  <a:lnTo>
                    <a:pt x="4444" y="11380"/>
                  </a:lnTo>
                  <a:lnTo>
                    <a:pt x="4815" y="12188"/>
                  </a:lnTo>
                  <a:lnTo>
                    <a:pt x="4411" y="12323"/>
                  </a:lnTo>
                  <a:lnTo>
                    <a:pt x="3973" y="12424"/>
                  </a:lnTo>
                  <a:lnTo>
                    <a:pt x="3131" y="12525"/>
                  </a:lnTo>
                  <a:lnTo>
                    <a:pt x="2694" y="12559"/>
                  </a:lnTo>
                  <a:lnTo>
                    <a:pt x="2458" y="12592"/>
                  </a:lnTo>
                  <a:lnTo>
                    <a:pt x="2256" y="12660"/>
                  </a:lnTo>
                  <a:lnTo>
                    <a:pt x="2222" y="11919"/>
                  </a:lnTo>
                  <a:lnTo>
                    <a:pt x="2155" y="11178"/>
                  </a:lnTo>
                  <a:lnTo>
                    <a:pt x="1987" y="9697"/>
                  </a:lnTo>
                  <a:lnTo>
                    <a:pt x="1953" y="9057"/>
                  </a:lnTo>
                  <a:lnTo>
                    <a:pt x="1886" y="8384"/>
                  </a:lnTo>
                  <a:lnTo>
                    <a:pt x="1785" y="7744"/>
                  </a:lnTo>
                  <a:lnTo>
                    <a:pt x="1684" y="7407"/>
                  </a:lnTo>
                  <a:lnTo>
                    <a:pt x="1583" y="7104"/>
                  </a:lnTo>
                  <a:lnTo>
                    <a:pt x="1886" y="7071"/>
                  </a:lnTo>
                  <a:lnTo>
                    <a:pt x="2222" y="7037"/>
                  </a:lnTo>
                  <a:lnTo>
                    <a:pt x="2862" y="6936"/>
                  </a:lnTo>
                  <a:lnTo>
                    <a:pt x="3771" y="6801"/>
                  </a:lnTo>
                  <a:close/>
                  <a:moveTo>
                    <a:pt x="5185" y="12256"/>
                  </a:moveTo>
                  <a:lnTo>
                    <a:pt x="5185" y="12424"/>
                  </a:lnTo>
                  <a:lnTo>
                    <a:pt x="5252" y="12592"/>
                  </a:lnTo>
                  <a:lnTo>
                    <a:pt x="5320" y="12761"/>
                  </a:lnTo>
                  <a:lnTo>
                    <a:pt x="5421" y="12929"/>
                  </a:lnTo>
                  <a:lnTo>
                    <a:pt x="5623" y="13232"/>
                  </a:lnTo>
                  <a:lnTo>
                    <a:pt x="5892" y="13535"/>
                  </a:lnTo>
                  <a:lnTo>
                    <a:pt x="6161" y="13804"/>
                  </a:lnTo>
                  <a:lnTo>
                    <a:pt x="6431" y="14107"/>
                  </a:lnTo>
                  <a:lnTo>
                    <a:pt x="6666" y="14410"/>
                  </a:lnTo>
                  <a:lnTo>
                    <a:pt x="6734" y="14579"/>
                  </a:lnTo>
                  <a:lnTo>
                    <a:pt x="6801" y="14747"/>
                  </a:lnTo>
                  <a:lnTo>
                    <a:pt x="6868" y="14983"/>
                  </a:lnTo>
                  <a:lnTo>
                    <a:pt x="6868" y="15252"/>
                  </a:lnTo>
                  <a:lnTo>
                    <a:pt x="6868" y="15488"/>
                  </a:lnTo>
                  <a:lnTo>
                    <a:pt x="6835" y="15723"/>
                  </a:lnTo>
                  <a:lnTo>
                    <a:pt x="6700" y="16228"/>
                  </a:lnTo>
                  <a:lnTo>
                    <a:pt x="6532" y="16700"/>
                  </a:lnTo>
                  <a:lnTo>
                    <a:pt x="6363" y="17171"/>
                  </a:lnTo>
                  <a:lnTo>
                    <a:pt x="6229" y="17676"/>
                  </a:lnTo>
                  <a:lnTo>
                    <a:pt x="6161" y="17912"/>
                  </a:lnTo>
                  <a:lnTo>
                    <a:pt x="6128" y="18147"/>
                  </a:lnTo>
                  <a:lnTo>
                    <a:pt x="6128" y="18383"/>
                  </a:lnTo>
                  <a:lnTo>
                    <a:pt x="6161" y="18652"/>
                  </a:lnTo>
                  <a:lnTo>
                    <a:pt x="5320" y="18821"/>
                  </a:lnTo>
                  <a:lnTo>
                    <a:pt x="4882" y="18888"/>
                  </a:lnTo>
                  <a:lnTo>
                    <a:pt x="4444" y="18955"/>
                  </a:lnTo>
                  <a:lnTo>
                    <a:pt x="3636" y="19023"/>
                  </a:lnTo>
                  <a:lnTo>
                    <a:pt x="3232" y="19090"/>
                  </a:lnTo>
                  <a:lnTo>
                    <a:pt x="2862" y="19191"/>
                  </a:lnTo>
                  <a:lnTo>
                    <a:pt x="2727" y="18888"/>
                  </a:lnTo>
                  <a:lnTo>
                    <a:pt x="2559" y="18619"/>
                  </a:lnTo>
                  <a:lnTo>
                    <a:pt x="2323" y="18383"/>
                  </a:lnTo>
                  <a:lnTo>
                    <a:pt x="2088" y="18147"/>
                  </a:lnTo>
                  <a:lnTo>
                    <a:pt x="1852" y="17945"/>
                  </a:lnTo>
                  <a:lnTo>
                    <a:pt x="1650" y="17710"/>
                  </a:lnTo>
                  <a:lnTo>
                    <a:pt x="1515" y="17508"/>
                  </a:lnTo>
                  <a:lnTo>
                    <a:pt x="1381" y="17272"/>
                  </a:lnTo>
                  <a:lnTo>
                    <a:pt x="1279" y="17003"/>
                  </a:lnTo>
                  <a:lnTo>
                    <a:pt x="1212" y="16733"/>
                  </a:lnTo>
                  <a:lnTo>
                    <a:pt x="1145" y="16464"/>
                  </a:lnTo>
                  <a:lnTo>
                    <a:pt x="1111" y="16161"/>
                  </a:lnTo>
                  <a:lnTo>
                    <a:pt x="1111" y="15757"/>
                  </a:lnTo>
                  <a:lnTo>
                    <a:pt x="1178" y="15319"/>
                  </a:lnTo>
                  <a:lnTo>
                    <a:pt x="1279" y="14915"/>
                  </a:lnTo>
                  <a:lnTo>
                    <a:pt x="1414" y="14511"/>
                  </a:lnTo>
                  <a:lnTo>
                    <a:pt x="1684" y="13703"/>
                  </a:lnTo>
                  <a:lnTo>
                    <a:pt x="1818" y="13299"/>
                  </a:lnTo>
                  <a:lnTo>
                    <a:pt x="1919" y="12929"/>
                  </a:lnTo>
                  <a:lnTo>
                    <a:pt x="2357" y="12862"/>
                  </a:lnTo>
                  <a:lnTo>
                    <a:pt x="2795" y="12828"/>
                  </a:lnTo>
                  <a:lnTo>
                    <a:pt x="3704" y="12660"/>
                  </a:lnTo>
                  <a:lnTo>
                    <a:pt x="4007" y="12626"/>
                  </a:lnTo>
                  <a:lnTo>
                    <a:pt x="4343" y="12559"/>
                  </a:lnTo>
                  <a:lnTo>
                    <a:pt x="4646" y="12491"/>
                  </a:lnTo>
                  <a:lnTo>
                    <a:pt x="4916" y="12390"/>
                  </a:lnTo>
                  <a:lnTo>
                    <a:pt x="4983" y="12357"/>
                  </a:lnTo>
                  <a:lnTo>
                    <a:pt x="5050" y="12323"/>
                  </a:lnTo>
                  <a:lnTo>
                    <a:pt x="5185" y="12256"/>
                  </a:lnTo>
                  <a:close/>
                  <a:moveTo>
                    <a:pt x="2054" y="0"/>
                  </a:moveTo>
                  <a:lnTo>
                    <a:pt x="1549" y="34"/>
                  </a:lnTo>
                  <a:lnTo>
                    <a:pt x="1044" y="135"/>
                  </a:lnTo>
                  <a:lnTo>
                    <a:pt x="539" y="270"/>
                  </a:lnTo>
                  <a:lnTo>
                    <a:pt x="303" y="337"/>
                  </a:lnTo>
                  <a:lnTo>
                    <a:pt x="101" y="472"/>
                  </a:lnTo>
                  <a:lnTo>
                    <a:pt x="67" y="505"/>
                  </a:lnTo>
                  <a:lnTo>
                    <a:pt x="67" y="539"/>
                  </a:lnTo>
                  <a:lnTo>
                    <a:pt x="67" y="573"/>
                  </a:lnTo>
                  <a:lnTo>
                    <a:pt x="101" y="606"/>
                  </a:lnTo>
                  <a:lnTo>
                    <a:pt x="34" y="808"/>
                  </a:lnTo>
                  <a:lnTo>
                    <a:pt x="0" y="1010"/>
                  </a:lnTo>
                  <a:lnTo>
                    <a:pt x="0" y="1414"/>
                  </a:lnTo>
                  <a:lnTo>
                    <a:pt x="67" y="1852"/>
                  </a:lnTo>
                  <a:lnTo>
                    <a:pt x="135" y="2256"/>
                  </a:lnTo>
                  <a:lnTo>
                    <a:pt x="236" y="2828"/>
                  </a:lnTo>
                  <a:lnTo>
                    <a:pt x="370" y="3401"/>
                  </a:lnTo>
                  <a:lnTo>
                    <a:pt x="404" y="3738"/>
                  </a:lnTo>
                  <a:lnTo>
                    <a:pt x="438" y="3940"/>
                  </a:lnTo>
                  <a:lnTo>
                    <a:pt x="505" y="4108"/>
                  </a:lnTo>
                  <a:lnTo>
                    <a:pt x="606" y="4209"/>
                  </a:lnTo>
                  <a:lnTo>
                    <a:pt x="673" y="4276"/>
                  </a:lnTo>
                  <a:lnTo>
                    <a:pt x="808" y="4344"/>
                  </a:lnTo>
                  <a:lnTo>
                    <a:pt x="909" y="4377"/>
                  </a:lnTo>
                  <a:lnTo>
                    <a:pt x="943" y="4815"/>
                  </a:lnTo>
                  <a:lnTo>
                    <a:pt x="976" y="5253"/>
                  </a:lnTo>
                  <a:lnTo>
                    <a:pt x="1010" y="5589"/>
                  </a:lnTo>
                  <a:lnTo>
                    <a:pt x="1044" y="5791"/>
                  </a:lnTo>
                  <a:lnTo>
                    <a:pt x="1145" y="5926"/>
                  </a:lnTo>
                  <a:lnTo>
                    <a:pt x="1111" y="5960"/>
                  </a:lnTo>
                  <a:lnTo>
                    <a:pt x="1077" y="5892"/>
                  </a:lnTo>
                  <a:lnTo>
                    <a:pt x="1010" y="5892"/>
                  </a:lnTo>
                  <a:lnTo>
                    <a:pt x="943" y="6027"/>
                  </a:lnTo>
                  <a:lnTo>
                    <a:pt x="943" y="6162"/>
                  </a:lnTo>
                  <a:lnTo>
                    <a:pt x="943" y="6296"/>
                  </a:lnTo>
                  <a:lnTo>
                    <a:pt x="976" y="6465"/>
                  </a:lnTo>
                  <a:lnTo>
                    <a:pt x="1111" y="6768"/>
                  </a:lnTo>
                  <a:lnTo>
                    <a:pt x="1279" y="7003"/>
                  </a:lnTo>
                  <a:lnTo>
                    <a:pt x="1212" y="7037"/>
                  </a:lnTo>
                  <a:lnTo>
                    <a:pt x="1178" y="7071"/>
                  </a:lnTo>
                  <a:lnTo>
                    <a:pt x="1212" y="7104"/>
                  </a:lnTo>
                  <a:lnTo>
                    <a:pt x="1381" y="7104"/>
                  </a:lnTo>
                  <a:lnTo>
                    <a:pt x="1482" y="7744"/>
                  </a:lnTo>
                  <a:lnTo>
                    <a:pt x="1583" y="8417"/>
                  </a:lnTo>
                  <a:lnTo>
                    <a:pt x="1684" y="9057"/>
                  </a:lnTo>
                  <a:lnTo>
                    <a:pt x="1751" y="9697"/>
                  </a:lnTo>
                  <a:lnTo>
                    <a:pt x="1886" y="11212"/>
                  </a:lnTo>
                  <a:lnTo>
                    <a:pt x="1953" y="11986"/>
                  </a:lnTo>
                  <a:lnTo>
                    <a:pt x="1987" y="12727"/>
                  </a:lnTo>
                  <a:lnTo>
                    <a:pt x="1987" y="12761"/>
                  </a:lnTo>
                  <a:lnTo>
                    <a:pt x="1919" y="12828"/>
                  </a:lnTo>
                  <a:lnTo>
                    <a:pt x="1919" y="12794"/>
                  </a:lnTo>
                  <a:lnTo>
                    <a:pt x="1852" y="12828"/>
                  </a:lnTo>
                  <a:lnTo>
                    <a:pt x="1785" y="12929"/>
                  </a:lnTo>
                  <a:lnTo>
                    <a:pt x="1684" y="13165"/>
                  </a:lnTo>
                  <a:lnTo>
                    <a:pt x="1549" y="13636"/>
                  </a:lnTo>
                  <a:lnTo>
                    <a:pt x="1313" y="14141"/>
                  </a:lnTo>
                  <a:lnTo>
                    <a:pt x="1145" y="14680"/>
                  </a:lnTo>
                  <a:lnTo>
                    <a:pt x="1010" y="15218"/>
                  </a:lnTo>
                  <a:lnTo>
                    <a:pt x="909" y="15791"/>
                  </a:lnTo>
                  <a:lnTo>
                    <a:pt x="909" y="16296"/>
                  </a:lnTo>
                  <a:lnTo>
                    <a:pt x="943" y="16767"/>
                  </a:lnTo>
                  <a:lnTo>
                    <a:pt x="1077" y="17238"/>
                  </a:lnTo>
                  <a:lnTo>
                    <a:pt x="1145" y="17440"/>
                  </a:lnTo>
                  <a:lnTo>
                    <a:pt x="1279" y="17676"/>
                  </a:lnTo>
                  <a:lnTo>
                    <a:pt x="1414" y="17912"/>
                  </a:lnTo>
                  <a:lnTo>
                    <a:pt x="1616" y="18114"/>
                  </a:lnTo>
                  <a:lnTo>
                    <a:pt x="2020" y="18484"/>
                  </a:lnTo>
                  <a:lnTo>
                    <a:pt x="2189" y="18652"/>
                  </a:lnTo>
                  <a:lnTo>
                    <a:pt x="2391" y="18854"/>
                  </a:lnTo>
                  <a:lnTo>
                    <a:pt x="2525" y="19090"/>
                  </a:lnTo>
                  <a:lnTo>
                    <a:pt x="2626" y="19359"/>
                  </a:lnTo>
                  <a:lnTo>
                    <a:pt x="2660" y="19427"/>
                  </a:lnTo>
                  <a:lnTo>
                    <a:pt x="2727" y="19460"/>
                  </a:lnTo>
                  <a:lnTo>
                    <a:pt x="2761" y="19460"/>
                  </a:lnTo>
                  <a:lnTo>
                    <a:pt x="2828" y="19427"/>
                  </a:lnTo>
                  <a:lnTo>
                    <a:pt x="2963" y="19764"/>
                  </a:lnTo>
                  <a:lnTo>
                    <a:pt x="3098" y="20134"/>
                  </a:lnTo>
                  <a:lnTo>
                    <a:pt x="3199" y="20471"/>
                  </a:lnTo>
                  <a:lnTo>
                    <a:pt x="3266" y="20841"/>
                  </a:lnTo>
                  <a:lnTo>
                    <a:pt x="3333" y="21582"/>
                  </a:lnTo>
                  <a:lnTo>
                    <a:pt x="3434" y="22322"/>
                  </a:lnTo>
                  <a:lnTo>
                    <a:pt x="3704" y="24107"/>
                  </a:lnTo>
                  <a:lnTo>
                    <a:pt x="3838" y="24982"/>
                  </a:lnTo>
                  <a:lnTo>
                    <a:pt x="3939" y="25891"/>
                  </a:lnTo>
                  <a:lnTo>
                    <a:pt x="4074" y="27036"/>
                  </a:lnTo>
                  <a:lnTo>
                    <a:pt x="4209" y="28181"/>
                  </a:lnTo>
                  <a:lnTo>
                    <a:pt x="4411" y="29325"/>
                  </a:lnTo>
                  <a:lnTo>
                    <a:pt x="4680" y="30436"/>
                  </a:lnTo>
                  <a:lnTo>
                    <a:pt x="4983" y="30436"/>
                  </a:lnTo>
                  <a:lnTo>
                    <a:pt x="4781" y="29797"/>
                  </a:lnTo>
                  <a:lnTo>
                    <a:pt x="4613" y="29123"/>
                  </a:lnTo>
                  <a:lnTo>
                    <a:pt x="4444" y="28181"/>
                  </a:lnTo>
                  <a:lnTo>
                    <a:pt x="4343" y="27271"/>
                  </a:lnTo>
                  <a:lnTo>
                    <a:pt x="4141" y="25386"/>
                  </a:lnTo>
                  <a:lnTo>
                    <a:pt x="3872" y="23669"/>
                  </a:lnTo>
                  <a:lnTo>
                    <a:pt x="3603" y="21986"/>
                  </a:lnTo>
                  <a:lnTo>
                    <a:pt x="3535" y="21312"/>
                  </a:lnTo>
                  <a:lnTo>
                    <a:pt x="3434" y="20639"/>
                  </a:lnTo>
                  <a:lnTo>
                    <a:pt x="3367" y="20302"/>
                  </a:lnTo>
                  <a:lnTo>
                    <a:pt x="3266" y="19966"/>
                  </a:lnTo>
                  <a:lnTo>
                    <a:pt x="3165" y="19663"/>
                  </a:lnTo>
                  <a:lnTo>
                    <a:pt x="2997" y="19393"/>
                  </a:lnTo>
                  <a:lnTo>
                    <a:pt x="3939" y="19225"/>
                  </a:lnTo>
                  <a:lnTo>
                    <a:pt x="4882" y="19124"/>
                  </a:lnTo>
                  <a:lnTo>
                    <a:pt x="5488" y="19056"/>
                  </a:lnTo>
                  <a:lnTo>
                    <a:pt x="5757" y="18989"/>
                  </a:lnTo>
                  <a:lnTo>
                    <a:pt x="6060" y="18888"/>
                  </a:lnTo>
                  <a:lnTo>
                    <a:pt x="6060" y="18888"/>
                  </a:lnTo>
                  <a:lnTo>
                    <a:pt x="6027" y="19663"/>
                  </a:lnTo>
                  <a:lnTo>
                    <a:pt x="6027" y="20437"/>
                  </a:lnTo>
                  <a:lnTo>
                    <a:pt x="6094" y="21211"/>
                  </a:lnTo>
                  <a:lnTo>
                    <a:pt x="6161" y="21986"/>
                  </a:lnTo>
                  <a:lnTo>
                    <a:pt x="6363" y="23568"/>
                  </a:lnTo>
                  <a:lnTo>
                    <a:pt x="6532" y="25083"/>
                  </a:lnTo>
                  <a:lnTo>
                    <a:pt x="7070" y="30436"/>
                  </a:lnTo>
                  <a:lnTo>
                    <a:pt x="7373" y="30436"/>
                  </a:lnTo>
                  <a:lnTo>
                    <a:pt x="7104" y="27777"/>
                  </a:lnTo>
                  <a:lnTo>
                    <a:pt x="6801" y="25083"/>
                  </a:lnTo>
                  <a:lnTo>
                    <a:pt x="6498" y="21952"/>
                  </a:lnTo>
                  <a:lnTo>
                    <a:pt x="6195" y="18821"/>
                  </a:lnTo>
                  <a:lnTo>
                    <a:pt x="6262" y="19023"/>
                  </a:lnTo>
                  <a:lnTo>
                    <a:pt x="6296" y="19056"/>
                  </a:lnTo>
                  <a:lnTo>
                    <a:pt x="6330" y="19090"/>
                  </a:lnTo>
                  <a:lnTo>
                    <a:pt x="6431" y="19124"/>
                  </a:lnTo>
                  <a:lnTo>
                    <a:pt x="6498" y="19056"/>
                  </a:lnTo>
                  <a:lnTo>
                    <a:pt x="6532" y="19023"/>
                  </a:lnTo>
                  <a:lnTo>
                    <a:pt x="6532" y="18955"/>
                  </a:lnTo>
                  <a:lnTo>
                    <a:pt x="6464" y="18686"/>
                  </a:lnTo>
                  <a:lnTo>
                    <a:pt x="6431" y="18450"/>
                  </a:lnTo>
                  <a:lnTo>
                    <a:pt x="6431" y="18181"/>
                  </a:lnTo>
                  <a:lnTo>
                    <a:pt x="6464" y="17945"/>
                  </a:lnTo>
                  <a:lnTo>
                    <a:pt x="6565" y="17440"/>
                  </a:lnTo>
                  <a:lnTo>
                    <a:pt x="6734" y="16935"/>
                  </a:lnTo>
                  <a:lnTo>
                    <a:pt x="6868" y="16430"/>
                  </a:lnTo>
                  <a:lnTo>
                    <a:pt x="7037" y="15925"/>
                  </a:lnTo>
                  <a:lnTo>
                    <a:pt x="7104" y="15420"/>
                  </a:lnTo>
                  <a:lnTo>
                    <a:pt x="7104" y="15185"/>
                  </a:lnTo>
                  <a:lnTo>
                    <a:pt x="7104" y="14915"/>
                  </a:lnTo>
                  <a:lnTo>
                    <a:pt x="7070" y="14713"/>
                  </a:lnTo>
                  <a:lnTo>
                    <a:pt x="7037" y="14545"/>
                  </a:lnTo>
                  <a:lnTo>
                    <a:pt x="6868" y="14208"/>
                  </a:lnTo>
                  <a:lnTo>
                    <a:pt x="6666" y="13905"/>
                  </a:lnTo>
                  <a:lnTo>
                    <a:pt x="6397" y="13636"/>
                  </a:lnTo>
                  <a:lnTo>
                    <a:pt x="6060" y="13266"/>
                  </a:lnTo>
                  <a:lnTo>
                    <a:pt x="5757" y="12862"/>
                  </a:lnTo>
                  <a:lnTo>
                    <a:pt x="5623" y="12660"/>
                  </a:lnTo>
                  <a:lnTo>
                    <a:pt x="5488" y="12458"/>
                  </a:lnTo>
                  <a:lnTo>
                    <a:pt x="5387" y="12222"/>
                  </a:lnTo>
                  <a:lnTo>
                    <a:pt x="5320" y="11953"/>
                  </a:lnTo>
                  <a:lnTo>
                    <a:pt x="5286" y="11919"/>
                  </a:lnTo>
                  <a:lnTo>
                    <a:pt x="5219" y="11919"/>
                  </a:lnTo>
                  <a:lnTo>
                    <a:pt x="5185" y="11953"/>
                  </a:lnTo>
                  <a:lnTo>
                    <a:pt x="5185" y="12087"/>
                  </a:lnTo>
                  <a:lnTo>
                    <a:pt x="5118" y="12054"/>
                  </a:lnTo>
                  <a:lnTo>
                    <a:pt x="5050" y="12054"/>
                  </a:lnTo>
                  <a:lnTo>
                    <a:pt x="5017" y="12087"/>
                  </a:lnTo>
                  <a:lnTo>
                    <a:pt x="4983" y="11919"/>
                  </a:lnTo>
                  <a:lnTo>
                    <a:pt x="4882" y="11751"/>
                  </a:lnTo>
                  <a:lnTo>
                    <a:pt x="4613" y="11111"/>
                  </a:lnTo>
                  <a:lnTo>
                    <a:pt x="4478" y="10808"/>
                  </a:lnTo>
                  <a:lnTo>
                    <a:pt x="4411" y="10437"/>
                  </a:lnTo>
                  <a:lnTo>
                    <a:pt x="4242" y="9596"/>
                  </a:lnTo>
                  <a:lnTo>
                    <a:pt x="4141" y="8687"/>
                  </a:lnTo>
                  <a:lnTo>
                    <a:pt x="4141" y="8350"/>
                  </a:lnTo>
                  <a:lnTo>
                    <a:pt x="4108" y="7710"/>
                  </a:lnTo>
                  <a:lnTo>
                    <a:pt x="4074" y="7374"/>
                  </a:lnTo>
                  <a:lnTo>
                    <a:pt x="4007" y="7104"/>
                  </a:lnTo>
                  <a:lnTo>
                    <a:pt x="3939" y="6902"/>
                  </a:lnTo>
                  <a:lnTo>
                    <a:pt x="3872" y="6835"/>
                  </a:lnTo>
                  <a:lnTo>
                    <a:pt x="3838" y="6801"/>
                  </a:lnTo>
                  <a:lnTo>
                    <a:pt x="3973" y="6801"/>
                  </a:lnTo>
                  <a:lnTo>
                    <a:pt x="4007" y="6835"/>
                  </a:lnTo>
                  <a:lnTo>
                    <a:pt x="4141" y="6835"/>
                  </a:lnTo>
                  <a:lnTo>
                    <a:pt x="4209" y="6734"/>
                  </a:lnTo>
                  <a:lnTo>
                    <a:pt x="4343" y="6734"/>
                  </a:lnTo>
                  <a:lnTo>
                    <a:pt x="4411" y="6700"/>
                  </a:lnTo>
                  <a:lnTo>
                    <a:pt x="4444" y="6667"/>
                  </a:lnTo>
                  <a:lnTo>
                    <a:pt x="4444" y="6566"/>
                  </a:lnTo>
                  <a:lnTo>
                    <a:pt x="4377" y="6498"/>
                  </a:lnTo>
                  <a:lnTo>
                    <a:pt x="4343" y="6465"/>
                  </a:lnTo>
                  <a:lnTo>
                    <a:pt x="4276" y="6465"/>
                  </a:lnTo>
                  <a:lnTo>
                    <a:pt x="4209" y="6498"/>
                  </a:lnTo>
                  <a:lnTo>
                    <a:pt x="4209" y="6027"/>
                  </a:lnTo>
                  <a:lnTo>
                    <a:pt x="4141" y="5556"/>
                  </a:lnTo>
                  <a:lnTo>
                    <a:pt x="4108" y="5488"/>
                  </a:lnTo>
                  <a:lnTo>
                    <a:pt x="4040" y="5455"/>
                  </a:lnTo>
                  <a:lnTo>
                    <a:pt x="3771" y="5488"/>
                  </a:lnTo>
                  <a:lnTo>
                    <a:pt x="3838" y="5320"/>
                  </a:lnTo>
                  <a:lnTo>
                    <a:pt x="3838" y="5152"/>
                  </a:lnTo>
                  <a:lnTo>
                    <a:pt x="3771" y="4815"/>
                  </a:lnTo>
                  <a:lnTo>
                    <a:pt x="3704" y="4445"/>
                  </a:lnTo>
                  <a:lnTo>
                    <a:pt x="3603" y="4074"/>
                  </a:lnTo>
                  <a:lnTo>
                    <a:pt x="3737" y="4007"/>
                  </a:lnTo>
                  <a:lnTo>
                    <a:pt x="3838" y="4074"/>
                  </a:lnTo>
                  <a:lnTo>
                    <a:pt x="3906" y="4108"/>
                  </a:lnTo>
                  <a:lnTo>
                    <a:pt x="3973" y="4108"/>
                  </a:lnTo>
                  <a:lnTo>
                    <a:pt x="4007" y="4041"/>
                  </a:lnTo>
                  <a:lnTo>
                    <a:pt x="4007" y="3940"/>
                  </a:lnTo>
                  <a:lnTo>
                    <a:pt x="3906" y="3738"/>
                  </a:lnTo>
                  <a:lnTo>
                    <a:pt x="3805" y="3502"/>
                  </a:lnTo>
                  <a:lnTo>
                    <a:pt x="3771" y="3232"/>
                  </a:lnTo>
                  <a:lnTo>
                    <a:pt x="3771" y="2929"/>
                  </a:lnTo>
                  <a:lnTo>
                    <a:pt x="3737" y="2357"/>
                  </a:lnTo>
                  <a:lnTo>
                    <a:pt x="3737" y="1852"/>
                  </a:lnTo>
                  <a:lnTo>
                    <a:pt x="3704" y="1448"/>
                  </a:lnTo>
                  <a:lnTo>
                    <a:pt x="3636" y="977"/>
                  </a:lnTo>
                  <a:lnTo>
                    <a:pt x="3603" y="775"/>
                  </a:lnTo>
                  <a:lnTo>
                    <a:pt x="3535" y="539"/>
                  </a:lnTo>
                  <a:lnTo>
                    <a:pt x="3434" y="371"/>
                  </a:lnTo>
                  <a:lnTo>
                    <a:pt x="3333" y="236"/>
                  </a:lnTo>
                  <a:lnTo>
                    <a:pt x="3199" y="135"/>
                  </a:lnTo>
                  <a:lnTo>
                    <a:pt x="3064" y="68"/>
                  </a:lnTo>
                  <a:lnTo>
                    <a:pt x="2896" y="34"/>
                  </a:lnTo>
                  <a:lnTo>
                    <a:pt x="2727"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72" name="Google Shape;1872;p12"/>
            <p:cNvSpPr/>
            <p:nvPr/>
          </p:nvSpPr>
          <p:spPr>
            <a:xfrm>
              <a:off x="201033" y="4280399"/>
              <a:ext cx="263081" cy="258055"/>
            </a:xfrm>
            <a:custGeom>
              <a:avLst/>
              <a:gdLst/>
              <a:ahLst/>
              <a:cxnLst/>
              <a:rect l="l" t="t" r="r" b="b"/>
              <a:pathLst>
                <a:path w="5287" h="5186" extrusionOk="0">
                  <a:moveTo>
                    <a:pt x="2997" y="237"/>
                  </a:moveTo>
                  <a:lnTo>
                    <a:pt x="3333" y="304"/>
                  </a:lnTo>
                  <a:lnTo>
                    <a:pt x="3670" y="439"/>
                  </a:lnTo>
                  <a:lnTo>
                    <a:pt x="3603" y="439"/>
                  </a:lnTo>
                  <a:lnTo>
                    <a:pt x="3535" y="506"/>
                  </a:lnTo>
                  <a:lnTo>
                    <a:pt x="3434" y="607"/>
                  </a:lnTo>
                  <a:lnTo>
                    <a:pt x="3300" y="775"/>
                  </a:lnTo>
                  <a:lnTo>
                    <a:pt x="3232" y="876"/>
                  </a:lnTo>
                  <a:lnTo>
                    <a:pt x="3232" y="910"/>
                  </a:lnTo>
                  <a:lnTo>
                    <a:pt x="3232" y="977"/>
                  </a:lnTo>
                  <a:lnTo>
                    <a:pt x="3266" y="1011"/>
                  </a:lnTo>
                  <a:lnTo>
                    <a:pt x="3300" y="1045"/>
                  </a:lnTo>
                  <a:lnTo>
                    <a:pt x="3401" y="1011"/>
                  </a:lnTo>
                  <a:lnTo>
                    <a:pt x="3468" y="977"/>
                  </a:lnTo>
                  <a:lnTo>
                    <a:pt x="3603" y="809"/>
                  </a:lnTo>
                  <a:lnTo>
                    <a:pt x="3704" y="674"/>
                  </a:lnTo>
                  <a:lnTo>
                    <a:pt x="3737" y="674"/>
                  </a:lnTo>
                  <a:lnTo>
                    <a:pt x="3737" y="641"/>
                  </a:lnTo>
                  <a:lnTo>
                    <a:pt x="3771" y="641"/>
                  </a:lnTo>
                  <a:lnTo>
                    <a:pt x="3805" y="607"/>
                  </a:lnTo>
                  <a:lnTo>
                    <a:pt x="3805" y="540"/>
                  </a:lnTo>
                  <a:lnTo>
                    <a:pt x="3771" y="472"/>
                  </a:lnTo>
                  <a:lnTo>
                    <a:pt x="3973" y="607"/>
                  </a:lnTo>
                  <a:lnTo>
                    <a:pt x="4175" y="742"/>
                  </a:lnTo>
                  <a:lnTo>
                    <a:pt x="4545" y="1045"/>
                  </a:lnTo>
                  <a:lnTo>
                    <a:pt x="4680" y="1247"/>
                  </a:lnTo>
                  <a:lnTo>
                    <a:pt x="4815" y="1415"/>
                  </a:lnTo>
                  <a:lnTo>
                    <a:pt x="4949" y="1617"/>
                  </a:lnTo>
                  <a:lnTo>
                    <a:pt x="5017" y="1819"/>
                  </a:lnTo>
                  <a:lnTo>
                    <a:pt x="5084" y="1987"/>
                  </a:lnTo>
                  <a:lnTo>
                    <a:pt x="5118" y="2189"/>
                  </a:lnTo>
                  <a:lnTo>
                    <a:pt x="5084" y="2189"/>
                  </a:lnTo>
                  <a:lnTo>
                    <a:pt x="4949" y="2257"/>
                  </a:lnTo>
                  <a:lnTo>
                    <a:pt x="4815" y="2324"/>
                  </a:lnTo>
                  <a:lnTo>
                    <a:pt x="4545" y="2425"/>
                  </a:lnTo>
                  <a:lnTo>
                    <a:pt x="4512" y="2459"/>
                  </a:lnTo>
                  <a:lnTo>
                    <a:pt x="4478" y="2492"/>
                  </a:lnTo>
                  <a:lnTo>
                    <a:pt x="4512" y="2526"/>
                  </a:lnTo>
                  <a:lnTo>
                    <a:pt x="4545" y="2560"/>
                  </a:lnTo>
                  <a:lnTo>
                    <a:pt x="4680" y="2593"/>
                  </a:lnTo>
                  <a:lnTo>
                    <a:pt x="4848" y="2593"/>
                  </a:lnTo>
                  <a:lnTo>
                    <a:pt x="4983" y="2526"/>
                  </a:lnTo>
                  <a:lnTo>
                    <a:pt x="5118" y="2459"/>
                  </a:lnTo>
                  <a:lnTo>
                    <a:pt x="5118" y="2728"/>
                  </a:lnTo>
                  <a:lnTo>
                    <a:pt x="5050" y="2997"/>
                  </a:lnTo>
                  <a:lnTo>
                    <a:pt x="4949" y="3233"/>
                  </a:lnTo>
                  <a:lnTo>
                    <a:pt x="4848" y="3469"/>
                  </a:lnTo>
                  <a:lnTo>
                    <a:pt x="4714" y="3435"/>
                  </a:lnTo>
                  <a:lnTo>
                    <a:pt x="4613" y="3401"/>
                  </a:lnTo>
                  <a:lnTo>
                    <a:pt x="4478" y="3435"/>
                  </a:lnTo>
                  <a:lnTo>
                    <a:pt x="4377" y="3469"/>
                  </a:lnTo>
                  <a:lnTo>
                    <a:pt x="4377" y="3502"/>
                  </a:lnTo>
                  <a:lnTo>
                    <a:pt x="4377" y="3536"/>
                  </a:lnTo>
                  <a:lnTo>
                    <a:pt x="4545" y="3637"/>
                  </a:lnTo>
                  <a:lnTo>
                    <a:pt x="4714" y="3671"/>
                  </a:lnTo>
                  <a:lnTo>
                    <a:pt x="4579" y="3873"/>
                  </a:lnTo>
                  <a:lnTo>
                    <a:pt x="4411" y="4075"/>
                  </a:lnTo>
                  <a:lnTo>
                    <a:pt x="4209" y="4243"/>
                  </a:lnTo>
                  <a:lnTo>
                    <a:pt x="4040" y="4411"/>
                  </a:lnTo>
                  <a:lnTo>
                    <a:pt x="3838" y="4546"/>
                  </a:lnTo>
                  <a:lnTo>
                    <a:pt x="3603" y="4681"/>
                  </a:lnTo>
                  <a:lnTo>
                    <a:pt x="3401" y="4782"/>
                  </a:lnTo>
                  <a:lnTo>
                    <a:pt x="3165" y="4883"/>
                  </a:lnTo>
                  <a:lnTo>
                    <a:pt x="3165" y="4815"/>
                  </a:lnTo>
                  <a:lnTo>
                    <a:pt x="3098" y="4580"/>
                  </a:lnTo>
                  <a:lnTo>
                    <a:pt x="3064" y="4479"/>
                  </a:lnTo>
                  <a:lnTo>
                    <a:pt x="3030" y="4411"/>
                  </a:lnTo>
                  <a:lnTo>
                    <a:pt x="2997" y="4378"/>
                  </a:lnTo>
                  <a:lnTo>
                    <a:pt x="2929" y="4378"/>
                  </a:lnTo>
                  <a:lnTo>
                    <a:pt x="2896" y="4411"/>
                  </a:lnTo>
                  <a:lnTo>
                    <a:pt x="2862" y="4479"/>
                  </a:lnTo>
                  <a:lnTo>
                    <a:pt x="2862" y="4647"/>
                  </a:lnTo>
                  <a:lnTo>
                    <a:pt x="2896" y="4782"/>
                  </a:lnTo>
                  <a:lnTo>
                    <a:pt x="2963" y="4916"/>
                  </a:lnTo>
                  <a:lnTo>
                    <a:pt x="2727" y="4950"/>
                  </a:lnTo>
                  <a:lnTo>
                    <a:pt x="2323" y="4950"/>
                  </a:lnTo>
                  <a:lnTo>
                    <a:pt x="1953" y="4849"/>
                  </a:lnTo>
                  <a:lnTo>
                    <a:pt x="2054" y="4580"/>
                  </a:lnTo>
                  <a:lnTo>
                    <a:pt x="2088" y="4277"/>
                  </a:lnTo>
                  <a:lnTo>
                    <a:pt x="2054" y="4243"/>
                  </a:lnTo>
                  <a:lnTo>
                    <a:pt x="2020" y="4243"/>
                  </a:lnTo>
                  <a:lnTo>
                    <a:pt x="1953" y="4378"/>
                  </a:lnTo>
                  <a:lnTo>
                    <a:pt x="1852" y="4479"/>
                  </a:lnTo>
                  <a:lnTo>
                    <a:pt x="1751" y="4748"/>
                  </a:lnTo>
                  <a:lnTo>
                    <a:pt x="1751" y="4782"/>
                  </a:lnTo>
                  <a:lnTo>
                    <a:pt x="1549" y="4647"/>
                  </a:lnTo>
                  <a:lnTo>
                    <a:pt x="1347" y="4512"/>
                  </a:lnTo>
                  <a:lnTo>
                    <a:pt x="1145" y="4378"/>
                  </a:lnTo>
                  <a:lnTo>
                    <a:pt x="977" y="4209"/>
                  </a:lnTo>
                  <a:lnTo>
                    <a:pt x="1044" y="4108"/>
                  </a:lnTo>
                  <a:lnTo>
                    <a:pt x="1212" y="4007"/>
                  </a:lnTo>
                  <a:lnTo>
                    <a:pt x="1246" y="3940"/>
                  </a:lnTo>
                  <a:lnTo>
                    <a:pt x="1280" y="3873"/>
                  </a:lnTo>
                  <a:lnTo>
                    <a:pt x="1145" y="3873"/>
                  </a:lnTo>
                  <a:lnTo>
                    <a:pt x="977" y="3940"/>
                  </a:lnTo>
                  <a:lnTo>
                    <a:pt x="808" y="4041"/>
                  </a:lnTo>
                  <a:lnTo>
                    <a:pt x="674" y="3805"/>
                  </a:lnTo>
                  <a:lnTo>
                    <a:pt x="505" y="3570"/>
                  </a:lnTo>
                  <a:lnTo>
                    <a:pt x="404" y="3334"/>
                  </a:lnTo>
                  <a:lnTo>
                    <a:pt x="303" y="3065"/>
                  </a:lnTo>
                  <a:lnTo>
                    <a:pt x="573" y="3132"/>
                  </a:lnTo>
                  <a:lnTo>
                    <a:pt x="808" y="3098"/>
                  </a:lnTo>
                  <a:lnTo>
                    <a:pt x="876" y="3065"/>
                  </a:lnTo>
                  <a:lnTo>
                    <a:pt x="876" y="2997"/>
                  </a:lnTo>
                  <a:lnTo>
                    <a:pt x="842" y="2930"/>
                  </a:lnTo>
                  <a:lnTo>
                    <a:pt x="775" y="2896"/>
                  </a:lnTo>
                  <a:lnTo>
                    <a:pt x="270" y="2896"/>
                  </a:lnTo>
                  <a:lnTo>
                    <a:pt x="236" y="2661"/>
                  </a:lnTo>
                  <a:lnTo>
                    <a:pt x="236" y="2257"/>
                  </a:lnTo>
                  <a:lnTo>
                    <a:pt x="303" y="1886"/>
                  </a:lnTo>
                  <a:lnTo>
                    <a:pt x="438" y="1550"/>
                  </a:lnTo>
                  <a:lnTo>
                    <a:pt x="640" y="1247"/>
                  </a:lnTo>
                  <a:lnTo>
                    <a:pt x="876" y="977"/>
                  </a:lnTo>
                  <a:lnTo>
                    <a:pt x="1179" y="775"/>
                  </a:lnTo>
                  <a:lnTo>
                    <a:pt x="1482" y="573"/>
                  </a:lnTo>
                  <a:lnTo>
                    <a:pt x="1818" y="439"/>
                  </a:lnTo>
                  <a:lnTo>
                    <a:pt x="1886" y="506"/>
                  </a:lnTo>
                  <a:lnTo>
                    <a:pt x="1919" y="506"/>
                  </a:lnTo>
                  <a:lnTo>
                    <a:pt x="1987" y="472"/>
                  </a:lnTo>
                  <a:lnTo>
                    <a:pt x="2222" y="338"/>
                  </a:lnTo>
                  <a:lnTo>
                    <a:pt x="2290" y="338"/>
                  </a:lnTo>
                  <a:lnTo>
                    <a:pt x="2357" y="304"/>
                  </a:lnTo>
                  <a:lnTo>
                    <a:pt x="2660" y="237"/>
                  </a:lnTo>
                  <a:close/>
                  <a:moveTo>
                    <a:pt x="2626" y="1"/>
                  </a:moveTo>
                  <a:lnTo>
                    <a:pt x="2391" y="35"/>
                  </a:lnTo>
                  <a:lnTo>
                    <a:pt x="2155" y="102"/>
                  </a:lnTo>
                  <a:lnTo>
                    <a:pt x="1953" y="203"/>
                  </a:lnTo>
                  <a:lnTo>
                    <a:pt x="1717" y="237"/>
                  </a:lnTo>
                  <a:lnTo>
                    <a:pt x="1515" y="304"/>
                  </a:lnTo>
                  <a:lnTo>
                    <a:pt x="1313" y="371"/>
                  </a:lnTo>
                  <a:lnTo>
                    <a:pt x="1111" y="506"/>
                  </a:lnTo>
                  <a:lnTo>
                    <a:pt x="943" y="607"/>
                  </a:lnTo>
                  <a:lnTo>
                    <a:pt x="775" y="775"/>
                  </a:lnTo>
                  <a:lnTo>
                    <a:pt x="606" y="910"/>
                  </a:lnTo>
                  <a:lnTo>
                    <a:pt x="472" y="1112"/>
                  </a:lnTo>
                  <a:lnTo>
                    <a:pt x="270" y="1482"/>
                  </a:lnTo>
                  <a:lnTo>
                    <a:pt x="101" y="1920"/>
                  </a:lnTo>
                  <a:lnTo>
                    <a:pt x="0" y="2358"/>
                  </a:lnTo>
                  <a:lnTo>
                    <a:pt x="0" y="2593"/>
                  </a:lnTo>
                  <a:lnTo>
                    <a:pt x="0" y="2829"/>
                  </a:lnTo>
                  <a:lnTo>
                    <a:pt x="101" y="3199"/>
                  </a:lnTo>
                  <a:lnTo>
                    <a:pt x="236" y="3570"/>
                  </a:lnTo>
                  <a:lnTo>
                    <a:pt x="438" y="3940"/>
                  </a:lnTo>
                  <a:lnTo>
                    <a:pt x="674" y="4277"/>
                  </a:lnTo>
                  <a:lnTo>
                    <a:pt x="707" y="4310"/>
                  </a:lnTo>
                  <a:lnTo>
                    <a:pt x="741" y="4344"/>
                  </a:lnTo>
                  <a:lnTo>
                    <a:pt x="977" y="4546"/>
                  </a:lnTo>
                  <a:lnTo>
                    <a:pt x="1212" y="4748"/>
                  </a:lnTo>
                  <a:lnTo>
                    <a:pt x="1482" y="4883"/>
                  </a:lnTo>
                  <a:lnTo>
                    <a:pt x="1751" y="5017"/>
                  </a:lnTo>
                  <a:lnTo>
                    <a:pt x="2054" y="5118"/>
                  </a:lnTo>
                  <a:lnTo>
                    <a:pt x="2323" y="5186"/>
                  </a:lnTo>
                  <a:lnTo>
                    <a:pt x="2929" y="5186"/>
                  </a:lnTo>
                  <a:lnTo>
                    <a:pt x="3232" y="5118"/>
                  </a:lnTo>
                  <a:lnTo>
                    <a:pt x="3502" y="5017"/>
                  </a:lnTo>
                  <a:lnTo>
                    <a:pt x="3805" y="4883"/>
                  </a:lnTo>
                  <a:lnTo>
                    <a:pt x="4040" y="4714"/>
                  </a:lnTo>
                  <a:lnTo>
                    <a:pt x="4276" y="4546"/>
                  </a:lnTo>
                  <a:lnTo>
                    <a:pt x="4512" y="4310"/>
                  </a:lnTo>
                  <a:lnTo>
                    <a:pt x="4680" y="4108"/>
                  </a:lnTo>
                  <a:lnTo>
                    <a:pt x="4848" y="3839"/>
                  </a:lnTo>
                  <a:lnTo>
                    <a:pt x="5017" y="3603"/>
                  </a:lnTo>
                  <a:lnTo>
                    <a:pt x="5118" y="3300"/>
                  </a:lnTo>
                  <a:lnTo>
                    <a:pt x="5219" y="3031"/>
                  </a:lnTo>
                  <a:lnTo>
                    <a:pt x="5286" y="2728"/>
                  </a:lnTo>
                  <a:lnTo>
                    <a:pt x="5286" y="2459"/>
                  </a:lnTo>
                  <a:lnTo>
                    <a:pt x="5286" y="2156"/>
                  </a:lnTo>
                  <a:lnTo>
                    <a:pt x="5252" y="1853"/>
                  </a:lnTo>
                  <a:lnTo>
                    <a:pt x="5151" y="1550"/>
                  </a:lnTo>
                  <a:lnTo>
                    <a:pt x="5050" y="1348"/>
                  </a:lnTo>
                  <a:lnTo>
                    <a:pt x="4949" y="1146"/>
                  </a:lnTo>
                  <a:lnTo>
                    <a:pt x="4781" y="977"/>
                  </a:lnTo>
                  <a:lnTo>
                    <a:pt x="4613" y="775"/>
                  </a:lnTo>
                  <a:lnTo>
                    <a:pt x="4444" y="607"/>
                  </a:lnTo>
                  <a:lnTo>
                    <a:pt x="4242" y="472"/>
                  </a:lnTo>
                  <a:lnTo>
                    <a:pt x="4040" y="338"/>
                  </a:lnTo>
                  <a:lnTo>
                    <a:pt x="3805" y="237"/>
                  </a:lnTo>
                  <a:lnTo>
                    <a:pt x="3569" y="136"/>
                  </a:lnTo>
                  <a:lnTo>
                    <a:pt x="3333" y="68"/>
                  </a:lnTo>
                  <a:lnTo>
                    <a:pt x="3098" y="35"/>
                  </a:lnTo>
                  <a:lnTo>
                    <a:pt x="2862"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73" name="Google Shape;1873;p12"/>
            <p:cNvSpPr/>
            <p:nvPr/>
          </p:nvSpPr>
          <p:spPr>
            <a:xfrm>
              <a:off x="397038" y="4345734"/>
              <a:ext cx="30204" cy="20153"/>
            </a:xfrm>
            <a:custGeom>
              <a:avLst/>
              <a:gdLst/>
              <a:ahLst/>
              <a:cxnLst/>
              <a:rect l="l" t="t" r="r" b="b"/>
              <a:pathLst>
                <a:path w="607" h="405" extrusionOk="0">
                  <a:moveTo>
                    <a:pt x="337" y="1"/>
                  </a:moveTo>
                  <a:lnTo>
                    <a:pt x="202" y="102"/>
                  </a:lnTo>
                  <a:lnTo>
                    <a:pt x="68" y="203"/>
                  </a:lnTo>
                  <a:lnTo>
                    <a:pt x="0" y="371"/>
                  </a:lnTo>
                  <a:lnTo>
                    <a:pt x="0" y="405"/>
                  </a:lnTo>
                  <a:lnTo>
                    <a:pt x="34" y="405"/>
                  </a:lnTo>
                  <a:lnTo>
                    <a:pt x="303" y="304"/>
                  </a:lnTo>
                  <a:lnTo>
                    <a:pt x="438" y="237"/>
                  </a:lnTo>
                  <a:lnTo>
                    <a:pt x="539" y="203"/>
                  </a:lnTo>
                  <a:lnTo>
                    <a:pt x="573" y="136"/>
                  </a:lnTo>
                  <a:lnTo>
                    <a:pt x="606" y="102"/>
                  </a:lnTo>
                  <a:lnTo>
                    <a:pt x="573" y="35"/>
                  </a:lnTo>
                  <a:lnTo>
                    <a:pt x="505"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74" name="Google Shape;1874;p12"/>
            <p:cNvSpPr/>
            <p:nvPr/>
          </p:nvSpPr>
          <p:spPr>
            <a:xfrm>
              <a:off x="256316" y="4325631"/>
              <a:ext cx="28512" cy="25179"/>
            </a:xfrm>
            <a:custGeom>
              <a:avLst/>
              <a:gdLst/>
              <a:ahLst/>
              <a:cxnLst/>
              <a:rect l="l" t="t" r="r" b="b"/>
              <a:pathLst>
                <a:path w="573" h="506" extrusionOk="0">
                  <a:moveTo>
                    <a:pt x="101" y="1"/>
                  </a:moveTo>
                  <a:lnTo>
                    <a:pt x="34" y="35"/>
                  </a:lnTo>
                  <a:lnTo>
                    <a:pt x="0" y="102"/>
                  </a:lnTo>
                  <a:lnTo>
                    <a:pt x="34" y="136"/>
                  </a:lnTo>
                  <a:lnTo>
                    <a:pt x="101" y="237"/>
                  </a:lnTo>
                  <a:lnTo>
                    <a:pt x="202" y="338"/>
                  </a:lnTo>
                  <a:lnTo>
                    <a:pt x="303" y="439"/>
                  </a:lnTo>
                  <a:lnTo>
                    <a:pt x="438" y="506"/>
                  </a:lnTo>
                  <a:lnTo>
                    <a:pt x="505" y="506"/>
                  </a:lnTo>
                  <a:lnTo>
                    <a:pt x="539" y="439"/>
                  </a:lnTo>
                  <a:lnTo>
                    <a:pt x="573" y="371"/>
                  </a:lnTo>
                  <a:lnTo>
                    <a:pt x="539" y="304"/>
                  </a:lnTo>
                  <a:lnTo>
                    <a:pt x="337" y="169"/>
                  </a:lnTo>
                  <a:lnTo>
                    <a:pt x="135" y="35"/>
                  </a:lnTo>
                  <a:lnTo>
                    <a:pt x="101"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75" name="Google Shape;1875;p12"/>
            <p:cNvSpPr/>
            <p:nvPr/>
          </p:nvSpPr>
          <p:spPr>
            <a:xfrm>
              <a:off x="217752" y="4367529"/>
              <a:ext cx="38614" cy="13435"/>
            </a:xfrm>
            <a:custGeom>
              <a:avLst/>
              <a:gdLst/>
              <a:ahLst/>
              <a:cxnLst/>
              <a:rect l="l" t="t" r="r" b="b"/>
              <a:pathLst>
                <a:path w="776" h="270" extrusionOk="0">
                  <a:moveTo>
                    <a:pt x="169" y="1"/>
                  </a:moveTo>
                  <a:lnTo>
                    <a:pt x="68" y="34"/>
                  </a:lnTo>
                  <a:lnTo>
                    <a:pt x="1" y="102"/>
                  </a:lnTo>
                  <a:lnTo>
                    <a:pt x="1" y="135"/>
                  </a:lnTo>
                  <a:lnTo>
                    <a:pt x="35" y="169"/>
                  </a:lnTo>
                  <a:lnTo>
                    <a:pt x="169" y="203"/>
                  </a:lnTo>
                  <a:lnTo>
                    <a:pt x="371" y="203"/>
                  </a:lnTo>
                  <a:lnTo>
                    <a:pt x="573" y="270"/>
                  </a:lnTo>
                  <a:lnTo>
                    <a:pt x="674" y="270"/>
                  </a:lnTo>
                  <a:lnTo>
                    <a:pt x="742" y="236"/>
                  </a:lnTo>
                  <a:lnTo>
                    <a:pt x="775" y="203"/>
                  </a:lnTo>
                  <a:lnTo>
                    <a:pt x="775" y="135"/>
                  </a:lnTo>
                  <a:lnTo>
                    <a:pt x="742" y="68"/>
                  </a:lnTo>
                  <a:lnTo>
                    <a:pt x="641" y="34"/>
                  </a:lnTo>
                  <a:lnTo>
                    <a:pt x="405"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76" name="Google Shape;1876;p12"/>
            <p:cNvSpPr/>
            <p:nvPr/>
          </p:nvSpPr>
          <p:spPr>
            <a:xfrm>
              <a:off x="159135" y="3657205"/>
              <a:ext cx="145797" cy="152514"/>
            </a:xfrm>
            <a:custGeom>
              <a:avLst/>
              <a:gdLst/>
              <a:ahLst/>
              <a:cxnLst/>
              <a:rect l="l" t="t" r="r" b="b"/>
              <a:pathLst>
                <a:path w="2930" h="3065" extrusionOk="0">
                  <a:moveTo>
                    <a:pt x="1920" y="472"/>
                  </a:moveTo>
                  <a:lnTo>
                    <a:pt x="2391" y="505"/>
                  </a:lnTo>
                  <a:lnTo>
                    <a:pt x="2391" y="707"/>
                  </a:lnTo>
                  <a:lnTo>
                    <a:pt x="2391" y="943"/>
                  </a:lnTo>
                  <a:lnTo>
                    <a:pt x="2425" y="1347"/>
                  </a:lnTo>
                  <a:lnTo>
                    <a:pt x="2021" y="1347"/>
                  </a:lnTo>
                  <a:lnTo>
                    <a:pt x="1617" y="1381"/>
                  </a:lnTo>
                  <a:lnTo>
                    <a:pt x="1482" y="943"/>
                  </a:lnTo>
                  <a:lnTo>
                    <a:pt x="1381" y="472"/>
                  </a:lnTo>
                  <a:close/>
                  <a:moveTo>
                    <a:pt x="1078" y="539"/>
                  </a:moveTo>
                  <a:lnTo>
                    <a:pt x="1179" y="1010"/>
                  </a:lnTo>
                  <a:lnTo>
                    <a:pt x="1246" y="1414"/>
                  </a:lnTo>
                  <a:lnTo>
                    <a:pt x="1145" y="1414"/>
                  </a:lnTo>
                  <a:lnTo>
                    <a:pt x="775" y="1482"/>
                  </a:lnTo>
                  <a:lnTo>
                    <a:pt x="573" y="1515"/>
                  </a:lnTo>
                  <a:lnTo>
                    <a:pt x="404" y="1616"/>
                  </a:lnTo>
                  <a:lnTo>
                    <a:pt x="270" y="1179"/>
                  </a:lnTo>
                  <a:lnTo>
                    <a:pt x="202" y="1010"/>
                  </a:lnTo>
                  <a:lnTo>
                    <a:pt x="135" y="808"/>
                  </a:lnTo>
                  <a:lnTo>
                    <a:pt x="707" y="674"/>
                  </a:lnTo>
                  <a:lnTo>
                    <a:pt x="910" y="640"/>
                  </a:lnTo>
                  <a:lnTo>
                    <a:pt x="1011" y="606"/>
                  </a:lnTo>
                  <a:lnTo>
                    <a:pt x="1078" y="539"/>
                  </a:lnTo>
                  <a:close/>
                  <a:moveTo>
                    <a:pt x="2458" y="1616"/>
                  </a:moveTo>
                  <a:lnTo>
                    <a:pt x="2526" y="2189"/>
                  </a:lnTo>
                  <a:lnTo>
                    <a:pt x="2593" y="2458"/>
                  </a:lnTo>
                  <a:lnTo>
                    <a:pt x="2660" y="2727"/>
                  </a:lnTo>
                  <a:lnTo>
                    <a:pt x="2458" y="2694"/>
                  </a:lnTo>
                  <a:lnTo>
                    <a:pt x="2223" y="2694"/>
                  </a:lnTo>
                  <a:lnTo>
                    <a:pt x="1819" y="2727"/>
                  </a:lnTo>
                  <a:lnTo>
                    <a:pt x="1246" y="2727"/>
                  </a:lnTo>
                  <a:lnTo>
                    <a:pt x="674" y="2795"/>
                  </a:lnTo>
                  <a:lnTo>
                    <a:pt x="539" y="2290"/>
                  </a:lnTo>
                  <a:lnTo>
                    <a:pt x="438" y="1785"/>
                  </a:lnTo>
                  <a:lnTo>
                    <a:pt x="640" y="1785"/>
                  </a:lnTo>
                  <a:lnTo>
                    <a:pt x="876" y="1751"/>
                  </a:lnTo>
                  <a:lnTo>
                    <a:pt x="1314" y="1650"/>
                  </a:lnTo>
                  <a:lnTo>
                    <a:pt x="1381" y="1785"/>
                  </a:lnTo>
                  <a:lnTo>
                    <a:pt x="1482" y="1886"/>
                  </a:lnTo>
                  <a:lnTo>
                    <a:pt x="1583" y="1919"/>
                  </a:lnTo>
                  <a:lnTo>
                    <a:pt x="1650" y="1886"/>
                  </a:lnTo>
                  <a:lnTo>
                    <a:pt x="1684" y="1818"/>
                  </a:lnTo>
                  <a:lnTo>
                    <a:pt x="1718" y="1717"/>
                  </a:lnTo>
                  <a:lnTo>
                    <a:pt x="1684" y="1616"/>
                  </a:lnTo>
                  <a:close/>
                  <a:moveTo>
                    <a:pt x="1145" y="0"/>
                  </a:moveTo>
                  <a:lnTo>
                    <a:pt x="1112" y="68"/>
                  </a:lnTo>
                  <a:lnTo>
                    <a:pt x="1078" y="303"/>
                  </a:lnTo>
                  <a:lnTo>
                    <a:pt x="876" y="404"/>
                  </a:lnTo>
                  <a:lnTo>
                    <a:pt x="606" y="472"/>
                  </a:lnTo>
                  <a:lnTo>
                    <a:pt x="303" y="573"/>
                  </a:lnTo>
                  <a:lnTo>
                    <a:pt x="169" y="606"/>
                  </a:lnTo>
                  <a:lnTo>
                    <a:pt x="34" y="674"/>
                  </a:lnTo>
                  <a:lnTo>
                    <a:pt x="0" y="707"/>
                  </a:lnTo>
                  <a:lnTo>
                    <a:pt x="0" y="741"/>
                  </a:lnTo>
                  <a:lnTo>
                    <a:pt x="34" y="808"/>
                  </a:lnTo>
                  <a:lnTo>
                    <a:pt x="34" y="1078"/>
                  </a:lnTo>
                  <a:lnTo>
                    <a:pt x="34" y="1347"/>
                  </a:lnTo>
                  <a:lnTo>
                    <a:pt x="68" y="1616"/>
                  </a:lnTo>
                  <a:lnTo>
                    <a:pt x="135" y="1919"/>
                  </a:lnTo>
                  <a:lnTo>
                    <a:pt x="270" y="2458"/>
                  </a:lnTo>
                  <a:lnTo>
                    <a:pt x="438" y="2963"/>
                  </a:lnTo>
                  <a:lnTo>
                    <a:pt x="505" y="3031"/>
                  </a:lnTo>
                  <a:lnTo>
                    <a:pt x="573" y="3064"/>
                  </a:lnTo>
                  <a:lnTo>
                    <a:pt x="1179" y="2997"/>
                  </a:lnTo>
                  <a:lnTo>
                    <a:pt x="1819" y="2963"/>
                  </a:lnTo>
                  <a:lnTo>
                    <a:pt x="2357" y="2997"/>
                  </a:lnTo>
                  <a:lnTo>
                    <a:pt x="2627" y="2997"/>
                  </a:lnTo>
                  <a:lnTo>
                    <a:pt x="2896" y="2929"/>
                  </a:lnTo>
                  <a:lnTo>
                    <a:pt x="2930" y="2896"/>
                  </a:lnTo>
                  <a:lnTo>
                    <a:pt x="2930" y="2862"/>
                  </a:lnTo>
                  <a:lnTo>
                    <a:pt x="2930" y="2828"/>
                  </a:lnTo>
                  <a:lnTo>
                    <a:pt x="2896" y="2795"/>
                  </a:lnTo>
                  <a:lnTo>
                    <a:pt x="2862" y="2795"/>
                  </a:lnTo>
                  <a:lnTo>
                    <a:pt x="2862" y="2559"/>
                  </a:lnTo>
                  <a:lnTo>
                    <a:pt x="2795" y="2323"/>
                  </a:lnTo>
                  <a:lnTo>
                    <a:pt x="2694" y="1886"/>
                  </a:lnTo>
                  <a:lnTo>
                    <a:pt x="2593" y="1179"/>
                  </a:lnTo>
                  <a:lnTo>
                    <a:pt x="2559" y="438"/>
                  </a:lnTo>
                  <a:lnTo>
                    <a:pt x="2559" y="404"/>
                  </a:lnTo>
                  <a:lnTo>
                    <a:pt x="2559" y="371"/>
                  </a:lnTo>
                  <a:lnTo>
                    <a:pt x="2526" y="337"/>
                  </a:lnTo>
                  <a:lnTo>
                    <a:pt x="2492" y="303"/>
                  </a:lnTo>
                  <a:lnTo>
                    <a:pt x="2458" y="303"/>
                  </a:lnTo>
                  <a:lnTo>
                    <a:pt x="1920" y="236"/>
                  </a:lnTo>
                  <a:lnTo>
                    <a:pt x="1650" y="236"/>
                  </a:lnTo>
                  <a:lnTo>
                    <a:pt x="1347" y="270"/>
                  </a:lnTo>
                  <a:lnTo>
                    <a:pt x="1347" y="236"/>
                  </a:lnTo>
                  <a:lnTo>
                    <a:pt x="1314" y="135"/>
                  </a:lnTo>
                  <a:lnTo>
                    <a:pt x="1347" y="101"/>
                  </a:lnTo>
                  <a:lnTo>
                    <a:pt x="1347" y="34"/>
                  </a:lnTo>
                  <a:lnTo>
                    <a:pt x="1314"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77" name="Google Shape;1877;p12"/>
            <p:cNvSpPr/>
            <p:nvPr/>
          </p:nvSpPr>
          <p:spPr>
            <a:xfrm>
              <a:off x="311600" y="4302194"/>
              <a:ext cx="13435" cy="33538"/>
            </a:xfrm>
            <a:custGeom>
              <a:avLst/>
              <a:gdLst/>
              <a:ahLst/>
              <a:cxnLst/>
              <a:rect l="l" t="t" r="r" b="b"/>
              <a:pathLst>
                <a:path w="270" h="674" extrusionOk="0">
                  <a:moveTo>
                    <a:pt x="68" y="1"/>
                  </a:moveTo>
                  <a:lnTo>
                    <a:pt x="34" y="34"/>
                  </a:lnTo>
                  <a:lnTo>
                    <a:pt x="0" y="169"/>
                  </a:lnTo>
                  <a:lnTo>
                    <a:pt x="0" y="337"/>
                  </a:lnTo>
                  <a:lnTo>
                    <a:pt x="0" y="472"/>
                  </a:lnTo>
                  <a:lnTo>
                    <a:pt x="68" y="607"/>
                  </a:lnTo>
                  <a:lnTo>
                    <a:pt x="68" y="640"/>
                  </a:lnTo>
                  <a:lnTo>
                    <a:pt x="101" y="674"/>
                  </a:lnTo>
                  <a:lnTo>
                    <a:pt x="202" y="640"/>
                  </a:lnTo>
                  <a:lnTo>
                    <a:pt x="270" y="607"/>
                  </a:lnTo>
                  <a:lnTo>
                    <a:pt x="270" y="506"/>
                  </a:lnTo>
                  <a:lnTo>
                    <a:pt x="236" y="304"/>
                  </a:lnTo>
                  <a:lnTo>
                    <a:pt x="202" y="169"/>
                  </a:lnTo>
                  <a:lnTo>
                    <a:pt x="169" y="34"/>
                  </a:lnTo>
                  <a:lnTo>
                    <a:pt x="135"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78" name="Google Shape;1878;p12"/>
            <p:cNvSpPr/>
            <p:nvPr/>
          </p:nvSpPr>
          <p:spPr>
            <a:xfrm>
              <a:off x="308216" y="4352451"/>
              <a:ext cx="98923" cy="98923"/>
            </a:xfrm>
            <a:custGeom>
              <a:avLst/>
              <a:gdLst/>
              <a:ahLst/>
              <a:cxnLst/>
              <a:rect l="l" t="t" r="r" b="b"/>
              <a:pathLst>
                <a:path w="1988" h="1988" extrusionOk="0">
                  <a:moveTo>
                    <a:pt x="1213" y="1"/>
                  </a:moveTo>
                  <a:lnTo>
                    <a:pt x="1078" y="102"/>
                  </a:lnTo>
                  <a:lnTo>
                    <a:pt x="944" y="236"/>
                  </a:lnTo>
                  <a:lnTo>
                    <a:pt x="775" y="539"/>
                  </a:lnTo>
                  <a:lnTo>
                    <a:pt x="573" y="876"/>
                  </a:lnTo>
                  <a:lnTo>
                    <a:pt x="540" y="943"/>
                  </a:lnTo>
                  <a:lnTo>
                    <a:pt x="405" y="741"/>
                  </a:lnTo>
                  <a:lnTo>
                    <a:pt x="338" y="506"/>
                  </a:lnTo>
                  <a:lnTo>
                    <a:pt x="237" y="270"/>
                  </a:lnTo>
                  <a:lnTo>
                    <a:pt x="136" y="34"/>
                  </a:lnTo>
                  <a:lnTo>
                    <a:pt x="35" y="34"/>
                  </a:lnTo>
                  <a:lnTo>
                    <a:pt x="1" y="68"/>
                  </a:lnTo>
                  <a:lnTo>
                    <a:pt x="1" y="135"/>
                  </a:lnTo>
                  <a:lnTo>
                    <a:pt x="68" y="405"/>
                  </a:lnTo>
                  <a:lnTo>
                    <a:pt x="136" y="708"/>
                  </a:lnTo>
                  <a:lnTo>
                    <a:pt x="270" y="977"/>
                  </a:lnTo>
                  <a:lnTo>
                    <a:pt x="405" y="1246"/>
                  </a:lnTo>
                  <a:lnTo>
                    <a:pt x="472" y="1280"/>
                  </a:lnTo>
                  <a:lnTo>
                    <a:pt x="506" y="1280"/>
                  </a:lnTo>
                  <a:lnTo>
                    <a:pt x="540" y="1314"/>
                  </a:lnTo>
                  <a:lnTo>
                    <a:pt x="573" y="1347"/>
                  </a:lnTo>
                  <a:lnTo>
                    <a:pt x="910" y="1482"/>
                  </a:lnTo>
                  <a:lnTo>
                    <a:pt x="1213" y="1650"/>
                  </a:lnTo>
                  <a:lnTo>
                    <a:pt x="1516" y="1852"/>
                  </a:lnTo>
                  <a:lnTo>
                    <a:pt x="1684" y="1953"/>
                  </a:lnTo>
                  <a:lnTo>
                    <a:pt x="1853" y="1987"/>
                  </a:lnTo>
                  <a:lnTo>
                    <a:pt x="1954" y="1987"/>
                  </a:lnTo>
                  <a:lnTo>
                    <a:pt x="1987" y="1920"/>
                  </a:lnTo>
                  <a:lnTo>
                    <a:pt x="1987" y="1852"/>
                  </a:lnTo>
                  <a:lnTo>
                    <a:pt x="1954" y="1785"/>
                  </a:lnTo>
                  <a:lnTo>
                    <a:pt x="1617" y="1583"/>
                  </a:lnTo>
                  <a:lnTo>
                    <a:pt x="1280" y="1381"/>
                  </a:lnTo>
                  <a:lnTo>
                    <a:pt x="977" y="1213"/>
                  </a:lnTo>
                  <a:lnTo>
                    <a:pt x="809" y="1179"/>
                  </a:lnTo>
                  <a:lnTo>
                    <a:pt x="641" y="1145"/>
                  </a:lnTo>
                  <a:lnTo>
                    <a:pt x="607" y="1078"/>
                  </a:lnTo>
                  <a:lnTo>
                    <a:pt x="742" y="910"/>
                  </a:lnTo>
                  <a:lnTo>
                    <a:pt x="876" y="708"/>
                  </a:lnTo>
                  <a:lnTo>
                    <a:pt x="1078" y="371"/>
                  </a:lnTo>
                  <a:lnTo>
                    <a:pt x="1179" y="169"/>
                  </a:lnTo>
                  <a:lnTo>
                    <a:pt x="1247"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79" name="Google Shape;1879;p12"/>
            <p:cNvSpPr/>
            <p:nvPr/>
          </p:nvSpPr>
          <p:spPr>
            <a:xfrm>
              <a:off x="385294" y="4484813"/>
              <a:ext cx="18461" cy="13435"/>
            </a:xfrm>
            <a:custGeom>
              <a:avLst/>
              <a:gdLst/>
              <a:ahLst/>
              <a:cxnLst/>
              <a:rect l="l" t="t" r="r" b="b"/>
              <a:pathLst>
                <a:path w="371" h="270" extrusionOk="0">
                  <a:moveTo>
                    <a:pt x="68" y="0"/>
                  </a:moveTo>
                  <a:lnTo>
                    <a:pt x="1" y="34"/>
                  </a:lnTo>
                  <a:lnTo>
                    <a:pt x="1" y="101"/>
                  </a:lnTo>
                  <a:lnTo>
                    <a:pt x="102" y="202"/>
                  </a:lnTo>
                  <a:lnTo>
                    <a:pt x="203" y="236"/>
                  </a:lnTo>
                  <a:lnTo>
                    <a:pt x="270" y="270"/>
                  </a:lnTo>
                  <a:lnTo>
                    <a:pt x="304" y="270"/>
                  </a:lnTo>
                  <a:lnTo>
                    <a:pt x="371" y="236"/>
                  </a:lnTo>
                  <a:lnTo>
                    <a:pt x="371" y="202"/>
                  </a:lnTo>
                  <a:lnTo>
                    <a:pt x="371" y="135"/>
                  </a:lnTo>
                  <a:lnTo>
                    <a:pt x="304" y="101"/>
                  </a:lnTo>
                  <a:lnTo>
                    <a:pt x="236" y="34"/>
                  </a:lnTo>
                  <a:lnTo>
                    <a:pt x="135"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80" name="Google Shape;1880;p12"/>
            <p:cNvSpPr/>
            <p:nvPr/>
          </p:nvSpPr>
          <p:spPr>
            <a:xfrm>
              <a:off x="380268" y="4828257"/>
              <a:ext cx="20153" cy="26870"/>
            </a:xfrm>
            <a:custGeom>
              <a:avLst/>
              <a:gdLst/>
              <a:ahLst/>
              <a:cxnLst/>
              <a:rect l="l" t="t" r="r" b="b"/>
              <a:pathLst>
                <a:path w="405" h="540" extrusionOk="0">
                  <a:moveTo>
                    <a:pt x="203" y="0"/>
                  </a:moveTo>
                  <a:lnTo>
                    <a:pt x="135" y="34"/>
                  </a:lnTo>
                  <a:lnTo>
                    <a:pt x="102" y="68"/>
                  </a:lnTo>
                  <a:lnTo>
                    <a:pt x="68" y="169"/>
                  </a:lnTo>
                  <a:lnTo>
                    <a:pt x="1" y="236"/>
                  </a:lnTo>
                  <a:lnTo>
                    <a:pt x="1" y="337"/>
                  </a:lnTo>
                  <a:lnTo>
                    <a:pt x="34" y="438"/>
                  </a:lnTo>
                  <a:lnTo>
                    <a:pt x="102" y="505"/>
                  </a:lnTo>
                  <a:lnTo>
                    <a:pt x="203" y="539"/>
                  </a:lnTo>
                  <a:lnTo>
                    <a:pt x="304" y="505"/>
                  </a:lnTo>
                  <a:lnTo>
                    <a:pt x="371" y="438"/>
                  </a:lnTo>
                  <a:lnTo>
                    <a:pt x="405" y="337"/>
                  </a:lnTo>
                  <a:lnTo>
                    <a:pt x="405" y="270"/>
                  </a:lnTo>
                  <a:lnTo>
                    <a:pt x="371" y="202"/>
                  </a:lnTo>
                  <a:lnTo>
                    <a:pt x="337" y="135"/>
                  </a:lnTo>
                  <a:lnTo>
                    <a:pt x="304" y="68"/>
                  </a:lnTo>
                  <a:lnTo>
                    <a:pt x="270" y="34"/>
                  </a:lnTo>
                  <a:lnTo>
                    <a:pt x="203" y="0"/>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81" name="Google Shape;1881;p12"/>
            <p:cNvSpPr/>
            <p:nvPr/>
          </p:nvSpPr>
          <p:spPr>
            <a:xfrm>
              <a:off x="420475" y="5047698"/>
              <a:ext cx="18511" cy="23536"/>
            </a:xfrm>
            <a:custGeom>
              <a:avLst/>
              <a:gdLst/>
              <a:ahLst/>
              <a:cxnLst/>
              <a:rect l="l" t="t" r="r" b="b"/>
              <a:pathLst>
                <a:path w="372" h="473" extrusionOk="0">
                  <a:moveTo>
                    <a:pt x="135" y="1"/>
                  </a:moveTo>
                  <a:lnTo>
                    <a:pt x="102" y="35"/>
                  </a:lnTo>
                  <a:lnTo>
                    <a:pt x="34" y="102"/>
                  </a:lnTo>
                  <a:lnTo>
                    <a:pt x="1" y="169"/>
                  </a:lnTo>
                  <a:lnTo>
                    <a:pt x="1" y="237"/>
                  </a:lnTo>
                  <a:lnTo>
                    <a:pt x="1" y="338"/>
                  </a:lnTo>
                  <a:lnTo>
                    <a:pt x="34" y="405"/>
                  </a:lnTo>
                  <a:lnTo>
                    <a:pt x="68" y="439"/>
                  </a:lnTo>
                  <a:lnTo>
                    <a:pt x="135" y="472"/>
                  </a:lnTo>
                  <a:lnTo>
                    <a:pt x="304" y="472"/>
                  </a:lnTo>
                  <a:lnTo>
                    <a:pt x="371" y="405"/>
                  </a:lnTo>
                  <a:lnTo>
                    <a:pt x="371" y="304"/>
                  </a:lnTo>
                  <a:lnTo>
                    <a:pt x="371" y="237"/>
                  </a:lnTo>
                  <a:lnTo>
                    <a:pt x="371" y="169"/>
                  </a:lnTo>
                  <a:lnTo>
                    <a:pt x="337" y="102"/>
                  </a:lnTo>
                  <a:lnTo>
                    <a:pt x="304" y="102"/>
                  </a:lnTo>
                  <a:lnTo>
                    <a:pt x="270" y="35"/>
                  </a:lnTo>
                  <a:lnTo>
                    <a:pt x="270"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82" name="Google Shape;1882;p12"/>
            <p:cNvSpPr/>
            <p:nvPr/>
          </p:nvSpPr>
          <p:spPr>
            <a:xfrm>
              <a:off x="400371" y="4942157"/>
              <a:ext cx="21845" cy="25179"/>
            </a:xfrm>
            <a:custGeom>
              <a:avLst/>
              <a:gdLst/>
              <a:ahLst/>
              <a:cxnLst/>
              <a:rect l="l" t="t" r="r" b="b"/>
              <a:pathLst>
                <a:path w="439" h="506" extrusionOk="0">
                  <a:moveTo>
                    <a:pt x="270" y="1"/>
                  </a:moveTo>
                  <a:lnTo>
                    <a:pt x="203" y="34"/>
                  </a:lnTo>
                  <a:lnTo>
                    <a:pt x="102" y="102"/>
                  </a:lnTo>
                  <a:lnTo>
                    <a:pt x="68" y="169"/>
                  </a:lnTo>
                  <a:lnTo>
                    <a:pt x="1" y="236"/>
                  </a:lnTo>
                  <a:lnTo>
                    <a:pt x="1" y="337"/>
                  </a:lnTo>
                  <a:lnTo>
                    <a:pt x="34" y="405"/>
                  </a:lnTo>
                  <a:lnTo>
                    <a:pt x="68" y="438"/>
                  </a:lnTo>
                  <a:lnTo>
                    <a:pt x="102" y="506"/>
                  </a:lnTo>
                  <a:lnTo>
                    <a:pt x="304" y="506"/>
                  </a:lnTo>
                  <a:lnTo>
                    <a:pt x="371" y="438"/>
                  </a:lnTo>
                  <a:lnTo>
                    <a:pt x="405" y="371"/>
                  </a:lnTo>
                  <a:lnTo>
                    <a:pt x="438" y="304"/>
                  </a:lnTo>
                  <a:lnTo>
                    <a:pt x="405" y="203"/>
                  </a:lnTo>
                  <a:lnTo>
                    <a:pt x="405" y="169"/>
                  </a:lnTo>
                  <a:lnTo>
                    <a:pt x="371" y="68"/>
                  </a:lnTo>
                  <a:lnTo>
                    <a:pt x="270"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83" name="Google Shape;1883;p12"/>
            <p:cNvSpPr/>
            <p:nvPr/>
          </p:nvSpPr>
          <p:spPr>
            <a:xfrm>
              <a:off x="398680" y="4886874"/>
              <a:ext cx="20203" cy="23536"/>
            </a:xfrm>
            <a:custGeom>
              <a:avLst/>
              <a:gdLst/>
              <a:ahLst/>
              <a:cxnLst/>
              <a:rect l="l" t="t" r="r" b="b"/>
              <a:pathLst>
                <a:path w="406" h="473" extrusionOk="0">
                  <a:moveTo>
                    <a:pt x="102" y="1"/>
                  </a:moveTo>
                  <a:lnTo>
                    <a:pt x="35" y="68"/>
                  </a:lnTo>
                  <a:lnTo>
                    <a:pt x="1" y="236"/>
                  </a:lnTo>
                  <a:lnTo>
                    <a:pt x="1" y="304"/>
                  </a:lnTo>
                  <a:lnTo>
                    <a:pt x="35" y="405"/>
                  </a:lnTo>
                  <a:lnTo>
                    <a:pt x="136" y="472"/>
                  </a:lnTo>
                  <a:lnTo>
                    <a:pt x="237" y="472"/>
                  </a:lnTo>
                  <a:lnTo>
                    <a:pt x="371" y="405"/>
                  </a:lnTo>
                  <a:lnTo>
                    <a:pt x="405" y="337"/>
                  </a:lnTo>
                  <a:lnTo>
                    <a:pt x="405" y="270"/>
                  </a:lnTo>
                  <a:lnTo>
                    <a:pt x="371" y="135"/>
                  </a:lnTo>
                  <a:lnTo>
                    <a:pt x="338" y="135"/>
                  </a:lnTo>
                  <a:lnTo>
                    <a:pt x="338" y="102"/>
                  </a:lnTo>
                  <a:lnTo>
                    <a:pt x="304" y="34"/>
                  </a:lnTo>
                  <a:lnTo>
                    <a:pt x="203"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84" name="Google Shape;1884;p12"/>
            <p:cNvSpPr/>
            <p:nvPr/>
          </p:nvSpPr>
          <p:spPr>
            <a:xfrm>
              <a:off x="413807" y="5002466"/>
              <a:ext cx="20153" cy="20153"/>
            </a:xfrm>
            <a:custGeom>
              <a:avLst/>
              <a:gdLst/>
              <a:ahLst/>
              <a:cxnLst/>
              <a:rect l="l" t="t" r="r" b="b"/>
              <a:pathLst>
                <a:path w="405" h="405" extrusionOk="0">
                  <a:moveTo>
                    <a:pt x="202" y="1"/>
                  </a:moveTo>
                  <a:lnTo>
                    <a:pt x="101" y="34"/>
                  </a:lnTo>
                  <a:lnTo>
                    <a:pt x="34" y="136"/>
                  </a:lnTo>
                  <a:lnTo>
                    <a:pt x="0" y="203"/>
                  </a:lnTo>
                  <a:lnTo>
                    <a:pt x="34" y="270"/>
                  </a:lnTo>
                  <a:lnTo>
                    <a:pt x="67" y="371"/>
                  </a:lnTo>
                  <a:lnTo>
                    <a:pt x="168" y="405"/>
                  </a:lnTo>
                  <a:lnTo>
                    <a:pt x="269" y="405"/>
                  </a:lnTo>
                  <a:lnTo>
                    <a:pt x="370" y="338"/>
                  </a:lnTo>
                  <a:lnTo>
                    <a:pt x="404" y="270"/>
                  </a:lnTo>
                  <a:lnTo>
                    <a:pt x="404" y="169"/>
                  </a:lnTo>
                  <a:lnTo>
                    <a:pt x="404" y="136"/>
                  </a:lnTo>
                  <a:lnTo>
                    <a:pt x="337" y="34"/>
                  </a:lnTo>
                  <a:lnTo>
                    <a:pt x="269"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sp>
          <p:nvSpPr>
            <p:cNvPr id="1885" name="Google Shape;1885;p12"/>
            <p:cNvSpPr/>
            <p:nvPr/>
          </p:nvSpPr>
          <p:spPr>
            <a:xfrm>
              <a:off x="432218" y="5108007"/>
              <a:ext cx="18461" cy="28562"/>
            </a:xfrm>
            <a:custGeom>
              <a:avLst/>
              <a:gdLst/>
              <a:ahLst/>
              <a:cxnLst/>
              <a:rect l="l" t="t" r="r" b="b"/>
              <a:pathLst>
                <a:path w="371" h="574" extrusionOk="0">
                  <a:moveTo>
                    <a:pt x="169" y="1"/>
                  </a:moveTo>
                  <a:lnTo>
                    <a:pt x="135" y="35"/>
                  </a:lnTo>
                  <a:lnTo>
                    <a:pt x="101" y="68"/>
                  </a:lnTo>
                  <a:lnTo>
                    <a:pt x="34" y="102"/>
                  </a:lnTo>
                  <a:lnTo>
                    <a:pt x="0" y="237"/>
                  </a:lnTo>
                  <a:lnTo>
                    <a:pt x="0" y="371"/>
                  </a:lnTo>
                  <a:lnTo>
                    <a:pt x="34" y="506"/>
                  </a:lnTo>
                  <a:lnTo>
                    <a:pt x="68" y="540"/>
                  </a:lnTo>
                  <a:lnTo>
                    <a:pt x="135" y="573"/>
                  </a:lnTo>
                  <a:lnTo>
                    <a:pt x="236" y="573"/>
                  </a:lnTo>
                  <a:lnTo>
                    <a:pt x="303" y="540"/>
                  </a:lnTo>
                  <a:lnTo>
                    <a:pt x="371" y="439"/>
                  </a:lnTo>
                  <a:lnTo>
                    <a:pt x="371" y="338"/>
                  </a:lnTo>
                  <a:lnTo>
                    <a:pt x="337" y="203"/>
                  </a:lnTo>
                  <a:lnTo>
                    <a:pt x="303" y="136"/>
                  </a:lnTo>
                  <a:lnTo>
                    <a:pt x="270" y="68"/>
                  </a:lnTo>
                  <a:lnTo>
                    <a:pt x="270" y="35"/>
                  </a:lnTo>
                  <a:lnTo>
                    <a:pt x="236" y="1"/>
                  </a:lnTo>
                  <a:close/>
                </a:path>
              </a:pathLst>
            </a:custGeom>
            <a:solidFill>
              <a:schemeClr val="lt1"/>
            </a:solidFill>
            <a:ln>
              <a:noFill/>
            </a:ln>
          </p:spPr>
          <p:txBody>
            <a:bodyPr spcFirstLastPara="1" wrap="square" lIns="117025" tIns="117025" rIns="117025" bIns="117025" anchor="ctr" anchorCtr="0">
              <a:noAutofit/>
            </a:bodyPr>
            <a:lstStyle/>
            <a:p>
              <a:pPr marL="0" lvl="0" indent="0" algn="l" rtl="0">
                <a:spcBef>
                  <a:spcPts val="0"/>
                </a:spcBef>
                <a:spcAft>
                  <a:spcPts val="0"/>
                </a:spcAft>
                <a:buNone/>
              </a:pPr>
              <a:endParaRPr sz="2400"/>
            </a:p>
          </p:txBody>
        </p:sp>
      </p:grpSp>
      <p:sp>
        <p:nvSpPr>
          <p:cNvPr id="1886" name="Google Shape;1886;p12"/>
          <p:cNvSpPr txBox="1">
            <a:spLocks noGrp="1"/>
          </p:cNvSpPr>
          <p:nvPr>
            <p:ph type="sldNum" idx="12"/>
          </p:nvPr>
        </p:nvSpPr>
        <p:spPr>
          <a:xfrm>
            <a:off x="11543490" y="-86467"/>
            <a:ext cx="648244" cy="428800"/>
          </a:xfrm>
          <a:prstGeom prst="rect">
            <a:avLst/>
          </a:prstGeom>
          <a:noFill/>
          <a:ln>
            <a:noFill/>
          </a:ln>
        </p:spPr>
        <p:txBody>
          <a:bodyPr spcFirstLastPara="1" wrap="square" lIns="91425" tIns="91425" rIns="91425" bIns="91425" anchor="t" anchorCtr="0">
            <a:noAutofit/>
          </a:bodyPr>
          <a:lstStyle>
            <a:lvl1pPr>
              <a:defRPr lang="en" sz="2400" b="1" smtClean="0">
                <a:solidFill>
                  <a:schemeClr val="tx1"/>
                </a:solidFill>
              </a:defRPr>
            </a:lvl1pPr>
          </a:lstStyle>
          <a:p>
            <a:fld id="{00000000-1234-1234-1234-123412341234}" type="slidenum">
              <a:rPr lang="en-US" smtClean="0"/>
              <a:pPr/>
              <a:t>‹#›</a:t>
            </a:fld>
            <a:endParaRPr lang="en-US"/>
          </a:p>
        </p:txBody>
      </p:sp>
    </p:spTree>
    <p:extLst>
      <p:ext uri="{BB962C8B-B14F-4D97-AF65-F5344CB8AC3E}">
        <p14:creationId xmlns:p14="http://schemas.microsoft.com/office/powerpoint/2010/main" val="36739476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1343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2636886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Side patch Icon Content 3 rows">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724AA86D-A811-42CE-8C83-8053DFC66751}"/>
              </a:ext>
              <a:ext uri="{C183D7F6-B498-43B3-948B-1728B52AA6E4}">
                <adec:decorative xmlns:adec="http://schemas.microsoft.com/office/drawing/2017/decorative" val="1"/>
              </a:ext>
            </a:extLst>
          </p:cNvPr>
          <p:cNvSpPr/>
          <p:nvPr userDrawn="1"/>
        </p:nvSpPr>
        <p:spPr>
          <a:xfrm>
            <a:off x="-1" y="0"/>
            <a:ext cx="8329286" cy="6858000"/>
          </a:xfrm>
          <a:custGeom>
            <a:avLst/>
            <a:gdLst>
              <a:gd name="connsiteX0" fmla="*/ 0 w 8329286"/>
              <a:gd name="connsiteY0" fmla="*/ 0 h 6858000"/>
              <a:gd name="connsiteX1" fmla="*/ 8329286 w 8329286"/>
              <a:gd name="connsiteY1" fmla="*/ 0 h 6858000"/>
              <a:gd name="connsiteX2" fmla="*/ 8329286 w 8329286"/>
              <a:gd name="connsiteY2" fmla="*/ 68183 h 6858000"/>
              <a:gd name="connsiteX3" fmla="*/ 3175958 w 8329286"/>
              <a:gd name="connsiteY3" fmla="*/ 6858000 h 6858000"/>
              <a:gd name="connsiteX4" fmla="*/ 0 w 832928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29286" h="6858000">
                <a:moveTo>
                  <a:pt x="0" y="0"/>
                </a:moveTo>
                <a:lnTo>
                  <a:pt x="8329286" y="0"/>
                </a:lnTo>
                <a:lnTo>
                  <a:pt x="8329286" y="68183"/>
                </a:lnTo>
                <a:lnTo>
                  <a:pt x="3175958" y="6858000"/>
                </a:lnTo>
                <a:lnTo>
                  <a:pt x="0" y="6858000"/>
                </a:lnTo>
                <a:close/>
              </a:path>
            </a:pathLst>
          </a:cu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tangle 10">
            <a:extLst>
              <a:ext uri="{FF2B5EF4-FFF2-40B4-BE49-F238E27FC236}">
                <a16:creationId xmlns:a16="http://schemas.microsoft.com/office/drawing/2014/main" id="{0B42CCEE-B750-4EF9-BAE5-217844AE7456}"/>
              </a:ext>
              <a:ext uri="{C183D7F6-B498-43B3-948B-1728B52AA6E4}">
                <adec:decorative xmlns:adec="http://schemas.microsoft.com/office/drawing/2017/decorative" val="1"/>
              </a:ext>
            </a:extLst>
          </p:cNvPr>
          <p:cNvSpPr/>
          <p:nvPr userDrawn="1"/>
        </p:nvSpPr>
        <p:spPr>
          <a:xfrm>
            <a:off x="0" y="0"/>
            <a:ext cx="12192000" cy="1129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9015F2E0-A9EE-4095-8DFC-C3BBA80FAEEE}"/>
              </a:ext>
            </a:extLst>
          </p:cNvPr>
          <p:cNvSpPr>
            <a:spLocks noGrp="1"/>
          </p:cNvSpPr>
          <p:nvPr>
            <p:ph type="title"/>
          </p:nvPr>
        </p:nvSpPr>
        <p:spPr>
          <a:xfrm>
            <a:off x="548640" y="990600"/>
            <a:ext cx="10805160" cy="707886"/>
          </a:xfrm>
        </p:spPr>
        <p:txBody>
          <a:bodyPr lIns="91440" anchor="t">
            <a:normAutofit/>
          </a:bodyPr>
          <a:lstStyle>
            <a:lvl1pPr>
              <a:lnSpc>
                <a:spcPct val="100000"/>
              </a:lnSpc>
              <a:defRPr sz="4000" b="0">
                <a:latin typeface="+mj-lt"/>
              </a:defRPr>
            </a:lvl1pPr>
          </a:lstStyle>
          <a:p>
            <a:r>
              <a:rPr lang="en-US" noProof="0"/>
              <a:t>Click to edit Master title style</a:t>
            </a:r>
          </a:p>
        </p:txBody>
      </p:sp>
      <p:sp>
        <p:nvSpPr>
          <p:cNvPr id="7" name="Content Placeholder 6">
            <a:extLst>
              <a:ext uri="{FF2B5EF4-FFF2-40B4-BE49-F238E27FC236}">
                <a16:creationId xmlns:a16="http://schemas.microsoft.com/office/drawing/2014/main" id="{35FB90DC-1879-4B22-883B-7444D1A858EC}"/>
              </a:ext>
            </a:extLst>
          </p:cNvPr>
          <p:cNvSpPr>
            <a:spLocks noGrp="1"/>
          </p:cNvSpPr>
          <p:nvPr>
            <p:ph sz="quarter" idx="13" hasCustomPrompt="1"/>
          </p:nvPr>
        </p:nvSpPr>
        <p:spPr>
          <a:xfrm>
            <a:off x="7151214" y="2035302"/>
            <a:ext cx="4312844" cy="914490"/>
          </a:xfrm>
        </p:spPr>
        <p:txBody>
          <a:bodyPr lIns="91440" rIns="91440" anchor="ctr">
            <a:noAutofit/>
          </a:bodyPr>
          <a:lstStyle>
            <a:lvl1pPr marL="0" indent="0">
              <a:buNone/>
              <a:defRPr sz="1400"/>
            </a:lvl1pPr>
          </a:lstStyle>
          <a:p>
            <a:pPr lvl="0"/>
            <a:r>
              <a:rPr lang="en-US" noProof="0"/>
              <a:t>Description text </a:t>
            </a:r>
          </a:p>
        </p:txBody>
      </p:sp>
      <p:sp>
        <p:nvSpPr>
          <p:cNvPr id="8" name="Text Placeholder 7">
            <a:extLst>
              <a:ext uri="{FF2B5EF4-FFF2-40B4-BE49-F238E27FC236}">
                <a16:creationId xmlns:a16="http://schemas.microsoft.com/office/drawing/2014/main" id="{4D8DAD49-E192-4934-8CF1-25E9CA66F761}"/>
              </a:ext>
            </a:extLst>
          </p:cNvPr>
          <p:cNvSpPr>
            <a:spLocks noGrp="1"/>
          </p:cNvSpPr>
          <p:nvPr>
            <p:ph type="body" sz="quarter" idx="16" hasCustomPrompt="1"/>
          </p:nvPr>
        </p:nvSpPr>
        <p:spPr>
          <a:xfrm>
            <a:off x="624840" y="2280181"/>
            <a:ext cx="4937760" cy="424732"/>
          </a:xfrm>
          <a:noFill/>
        </p:spPr>
        <p:txBody>
          <a:bodyPr wrap="square" lIns="91440" rIns="91440" anchor="ctr">
            <a:noAutofit/>
          </a:bodyPr>
          <a:lstStyle>
            <a:lvl1pPr marL="0" indent="0" algn="r">
              <a:buNone/>
              <a:defRPr sz="2000" b="1">
                <a:solidFill>
                  <a:schemeClr val="tx2"/>
                </a:solidFill>
              </a:defRPr>
            </a:lvl1pPr>
          </a:lstStyle>
          <a:p>
            <a:pPr lvl="0"/>
            <a:r>
              <a:rPr lang="en-US" noProof="0"/>
              <a:t>ADD TEXT </a:t>
            </a:r>
          </a:p>
        </p:txBody>
      </p:sp>
      <p:sp>
        <p:nvSpPr>
          <p:cNvPr id="14" name="Picture Placeholder 7">
            <a:extLst>
              <a:ext uri="{FF2B5EF4-FFF2-40B4-BE49-F238E27FC236}">
                <a16:creationId xmlns:a16="http://schemas.microsoft.com/office/drawing/2014/main" id="{37CF37DF-A8A3-42D8-BAFE-0F56DCEC7657}"/>
              </a:ext>
              <a:ext uri="{C183D7F6-B498-43B3-948B-1728B52AA6E4}">
                <adec:decorative xmlns:adec="http://schemas.microsoft.com/office/drawing/2017/decorative" val="1"/>
              </a:ext>
            </a:extLst>
          </p:cNvPr>
          <p:cNvSpPr>
            <a:spLocks noGrp="1"/>
          </p:cNvSpPr>
          <p:nvPr>
            <p:ph type="pic" sz="quarter" idx="21" hasCustomPrompt="1"/>
          </p:nvPr>
        </p:nvSpPr>
        <p:spPr>
          <a:xfrm>
            <a:off x="5756426" y="1935993"/>
            <a:ext cx="1094116" cy="1113108"/>
          </a:xfrm>
          <a:prstGeom prst="ellipse">
            <a:avLst/>
          </a:prstGeom>
          <a:solidFill>
            <a:schemeClr val="bg1"/>
          </a:solidFill>
          <a:effectLst>
            <a:outerShdw blurRad="50800" dist="38100" dir="2700000" algn="tl" rotWithShape="0">
              <a:prstClr val="black">
                <a:alpha val="40000"/>
              </a:prstClr>
            </a:outerShdw>
          </a:effectLst>
        </p:spPr>
        <p:txBody>
          <a:bodyPr anchor="ctr"/>
          <a:lstStyle>
            <a:lvl1pPr marL="0" indent="0" algn="ctr">
              <a:buNone/>
              <a:defRPr/>
            </a:lvl1pPr>
          </a:lstStyle>
          <a:p>
            <a:r>
              <a:rPr lang="en-US" noProof="0"/>
              <a:t>Icon</a:t>
            </a:r>
          </a:p>
        </p:txBody>
      </p:sp>
      <p:sp>
        <p:nvSpPr>
          <p:cNvPr id="20" name="Content Placeholder 6">
            <a:extLst>
              <a:ext uri="{FF2B5EF4-FFF2-40B4-BE49-F238E27FC236}">
                <a16:creationId xmlns:a16="http://schemas.microsoft.com/office/drawing/2014/main" id="{36B305EA-E44E-48DA-922F-20D8D3496709}"/>
              </a:ext>
            </a:extLst>
          </p:cNvPr>
          <p:cNvSpPr>
            <a:spLocks noGrp="1"/>
          </p:cNvSpPr>
          <p:nvPr>
            <p:ph sz="quarter" idx="22" hasCustomPrompt="1"/>
          </p:nvPr>
        </p:nvSpPr>
        <p:spPr>
          <a:xfrm>
            <a:off x="6071132" y="3576256"/>
            <a:ext cx="5392925" cy="914490"/>
          </a:xfrm>
        </p:spPr>
        <p:txBody>
          <a:bodyPr lIns="91440" rIns="91440" anchor="ctr">
            <a:noAutofit/>
          </a:bodyPr>
          <a:lstStyle>
            <a:lvl1pPr marL="0" indent="0">
              <a:buNone/>
              <a:defRPr sz="1400"/>
            </a:lvl1pPr>
          </a:lstStyle>
          <a:p>
            <a:pPr lvl="0"/>
            <a:r>
              <a:rPr lang="en-US" noProof="0"/>
              <a:t>Description text </a:t>
            </a:r>
          </a:p>
        </p:txBody>
      </p:sp>
      <p:sp>
        <p:nvSpPr>
          <p:cNvPr id="21" name="Text Placeholder 7">
            <a:extLst>
              <a:ext uri="{FF2B5EF4-FFF2-40B4-BE49-F238E27FC236}">
                <a16:creationId xmlns:a16="http://schemas.microsoft.com/office/drawing/2014/main" id="{038D7323-C655-4E9F-A5C0-AE44AF907081}"/>
              </a:ext>
            </a:extLst>
          </p:cNvPr>
          <p:cNvSpPr>
            <a:spLocks noGrp="1"/>
          </p:cNvSpPr>
          <p:nvPr>
            <p:ph type="body" sz="quarter" idx="23" hasCustomPrompt="1"/>
          </p:nvPr>
        </p:nvSpPr>
        <p:spPr>
          <a:xfrm>
            <a:off x="548640" y="3846999"/>
            <a:ext cx="4023360" cy="424732"/>
          </a:xfrm>
          <a:noFill/>
        </p:spPr>
        <p:txBody>
          <a:bodyPr wrap="square" lIns="91440" rIns="91440" anchor="ctr">
            <a:noAutofit/>
          </a:bodyPr>
          <a:lstStyle>
            <a:lvl1pPr marL="0" indent="0" algn="r">
              <a:buNone/>
              <a:defRPr sz="2000" b="1">
                <a:solidFill>
                  <a:schemeClr val="accent5"/>
                </a:solidFill>
              </a:defRPr>
            </a:lvl1pPr>
          </a:lstStyle>
          <a:p>
            <a:pPr lvl="0"/>
            <a:r>
              <a:rPr lang="en-US" noProof="0"/>
              <a:t>ADD TEXT </a:t>
            </a:r>
          </a:p>
        </p:txBody>
      </p:sp>
      <p:sp>
        <p:nvSpPr>
          <p:cNvPr id="22" name="Picture Placeholder 7">
            <a:extLst>
              <a:ext uri="{FF2B5EF4-FFF2-40B4-BE49-F238E27FC236}">
                <a16:creationId xmlns:a16="http://schemas.microsoft.com/office/drawing/2014/main" id="{F79C998E-1F82-4AC1-AD39-82F45A05CED8}"/>
              </a:ext>
              <a:ext uri="{C183D7F6-B498-43B3-948B-1728B52AA6E4}">
                <adec:decorative xmlns:adec="http://schemas.microsoft.com/office/drawing/2017/decorative" val="1"/>
              </a:ext>
            </a:extLst>
          </p:cNvPr>
          <p:cNvSpPr>
            <a:spLocks noGrp="1"/>
          </p:cNvSpPr>
          <p:nvPr>
            <p:ph type="pic" sz="quarter" idx="24" hasCustomPrompt="1"/>
          </p:nvPr>
        </p:nvSpPr>
        <p:spPr>
          <a:xfrm>
            <a:off x="4774508" y="3502811"/>
            <a:ext cx="1094116" cy="1113108"/>
          </a:xfrm>
          <a:prstGeom prst="ellipse">
            <a:avLst/>
          </a:prstGeom>
          <a:solidFill>
            <a:schemeClr val="bg1"/>
          </a:solidFill>
          <a:effectLst>
            <a:outerShdw blurRad="50800" dist="38100" dir="2700000" algn="tl" rotWithShape="0">
              <a:prstClr val="black">
                <a:alpha val="40000"/>
              </a:prstClr>
            </a:outerShdw>
          </a:effectLst>
        </p:spPr>
        <p:txBody>
          <a:bodyPr anchor="ctr"/>
          <a:lstStyle>
            <a:lvl1pPr marL="0" indent="0" algn="ctr">
              <a:buNone/>
              <a:defRPr/>
            </a:lvl1pPr>
          </a:lstStyle>
          <a:p>
            <a:r>
              <a:rPr lang="en-US" noProof="0"/>
              <a:t>Icon</a:t>
            </a:r>
          </a:p>
        </p:txBody>
      </p:sp>
      <p:sp>
        <p:nvSpPr>
          <p:cNvPr id="16" name="Slide Number Placeholder 5">
            <a:extLst>
              <a:ext uri="{FF2B5EF4-FFF2-40B4-BE49-F238E27FC236}">
                <a16:creationId xmlns:a16="http://schemas.microsoft.com/office/drawing/2014/main" id="{E0693782-2388-4647-A185-375373970194}"/>
              </a:ext>
            </a:extLst>
          </p:cNvPr>
          <p:cNvSpPr>
            <a:spLocks noGrp="1"/>
          </p:cNvSpPr>
          <p:nvPr>
            <p:ph type="sldNum" sz="quarter" idx="4"/>
          </p:nvPr>
        </p:nvSpPr>
        <p:spPr>
          <a:xfrm>
            <a:off x="628788" y="6339840"/>
            <a:ext cx="302281" cy="365760"/>
          </a:xfrm>
          <a:prstGeom prst="rect">
            <a:avLst/>
          </a:prstGeom>
          <a:solidFill>
            <a:schemeClr val="bg1">
              <a:alpha val="82000"/>
            </a:schemeClr>
          </a:solidFill>
          <a:ln>
            <a:solidFill>
              <a:schemeClr val="accent2"/>
            </a:solidFill>
          </a:ln>
        </p:spPr>
        <p:txBody>
          <a:bodyPr vert="horz" lIns="0" tIns="45720" rIns="0" bIns="45720" rtlCol="0" anchor="ctr"/>
          <a:lstStyle>
            <a:lvl1pPr algn="ctr">
              <a:defRPr sz="1000">
                <a:solidFill>
                  <a:schemeClr val="tx1">
                    <a:lumMod val="95000"/>
                    <a:lumOff val="5000"/>
                  </a:schemeClr>
                </a:solidFill>
                <a:latin typeface="+mj-lt"/>
              </a:defRPr>
            </a:lvl1pPr>
          </a:lstStyle>
          <a:p>
            <a:fld id="{4FAB73BC-B049-4115-A692-8D63A059BFB8}" type="slidenum">
              <a:rPr lang="en-US" noProof="0" smtClean="0"/>
              <a:pPr/>
              <a:t>‹#›</a:t>
            </a:fld>
            <a:endParaRPr lang="en-US" noProof="0"/>
          </a:p>
        </p:txBody>
      </p:sp>
      <p:sp>
        <p:nvSpPr>
          <p:cNvPr id="13" name="Content Placeholder 6">
            <a:extLst>
              <a:ext uri="{FF2B5EF4-FFF2-40B4-BE49-F238E27FC236}">
                <a16:creationId xmlns:a16="http://schemas.microsoft.com/office/drawing/2014/main" id="{3FD6DDB9-4D92-43F8-B746-ABBAB109CA1E}"/>
              </a:ext>
            </a:extLst>
          </p:cNvPr>
          <p:cNvSpPr>
            <a:spLocks noGrp="1"/>
          </p:cNvSpPr>
          <p:nvPr>
            <p:ph sz="quarter" idx="25" hasCustomPrompt="1"/>
          </p:nvPr>
        </p:nvSpPr>
        <p:spPr>
          <a:xfrm>
            <a:off x="4949699" y="5117210"/>
            <a:ext cx="6514359" cy="914490"/>
          </a:xfrm>
        </p:spPr>
        <p:txBody>
          <a:bodyPr lIns="91440" rIns="91440" anchor="ctr">
            <a:noAutofit/>
          </a:bodyPr>
          <a:lstStyle>
            <a:lvl1pPr marL="0" indent="0">
              <a:buNone/>
              <a:defRPr sz="1400"/>
            </a:lvl1pPr>
          </a:lstStyle>
          <a:p>
            <a:pPr lvl="0"/>
            <a:r>
              <a:rPr lang="en-US" noProof="0"/>
              <a:t>Description text </a:t>
            </a:r>
          </a:p>
        </p:txBody>
      </p:sp>
      <p:sp>
        <p:nvSpPr>
          <p:cNvPr id="17" name="Text Placeholder 7">
            <a:extLst>
              <a:ext uri="{FF2B5EF4-FFF2-40B4-BE49-F238E27FC236}">
                <a16:creationId xmlns:a16="http://schemas.microsoft.com/office/drawing/2014/main" id="{13E2F95F-BD26-4AA8-941E-3993C9F1DBBC}"/>
              </a:ext>
            </a:extLst>
          </p:cNvPr>
          <p:cNvSpPr>
            <a:spLocks noGrp="1"/>
          </p:cNvSpPr>
          <p:nvPr>
            <p:ph type="body" sz="quarter" idx="26" hasCustomPrompt="1"/>
          </p:nvPr>
        </p:nvSpPr>
        <p:spPr>
          <a:xfrm>
            <a:off x="548641" y="5362089"/>
            <a:ext cx="2956560" cy="424732"/>
          </a:xfrm>
          <a:noFill/>
        </p:spPr>
        <p:txBody>
          <a:bodyPr wrap="square" lIns="91440" rIns="91440" anchor="ctr">
            <a:noAutofit/>
          </a:bodyPr>
          <a:lstStyle>
            <a:lvl1pPr marL="0" indent="0" algn="r">
              <a:buNone/>
              <a:defRPr sz="2000" b="1">
                <a:solidFill>
                  <a:schemeClr val="accent6"/>
                </a:solidFill>
              </a:defRPr>
            </a:lvl1pPr>
          </a:lstStyle>
          <a:p>
            <a:pPr lvl="0"/>
            <a:r>
              <a:rPr lang="en-US" noProof="0"/>
              <a:t>ADD TEXT </a:t>
            </a:r>
          </a:p>
        </p:txBody>
      </p:sp>
      <p:sp>
        <p:nvSpPr>
          <p:cNvPr id="19" name="Picture Placeholder 7">
            <a:extLst>
              <a:ext uri="{FF2B5EF4-FFF2-40B4-BE49-F238E27FC236}">
                <a16:creationId xmlns:a16="http://schemas.microsoft.com/office/drawing/2014/main" id="{68F52DD2-B3F0-4652-8C7B-96406F99FC14}"/>
              </a:ext>
              <a:ext uri="{C183D7F6-B498-43B3-948B-1728B52AA6E4}">
                <adec:decorative xmlns:adec="http://schemas.microsoft.com/office/drawing/2017/decorative" val="1"/>
              </a:ext>
            </a:extLst>
          </p:cNvPr>
          <p:cNvSpPr>
            <a:spLocks noGrp="1"/>
          </p:cNvSpPr>
          <p:nvPr>
            <p:ph type="pic" sz="quarter" idx="27" hasCustomPrompt="1"/>
          </p:nvPr>
        </p:nvSpPr>
        <p:spPr>
          <a:xfrm>
            <a:off x="3680392" y="5017901"/>
            <a:ext cx="1094116" cy="1113108"/>
          </a:xfrm>
          <a:prstGeom prst="ellipse">
            <a:avLst/>
          </a:prstGeom>
          <a:solidFill>
            <a:schemeClr val="bg1"/>
          </a:solidFill>
          <a:effectLst>
            <a:outerShdw blurRad="50800" dist="38100" dir="2700000" algn="tl" rotWithShape="0">
              <a:prstClr val="black">
                <a:alpha val="40000"/>
              </a:prstClr>
            </a:outerShdw>
          </a:effectLst>
        </p:spPr>
        <p:txBody>
          <a:bodyPr anchor="ctr"/>
          <a:lstStyle>
            <a:lvl1pPr marL="0" indent="0" algn="ctr">
              <a:buNone/>
              <a:defRPr/>
            </a:lvl1pPr>
          </a:lstStyle>
          <a:p>
            <a:r>
              <a:rPr lang="en-US" noProof="0"/>
              <a:t>Icon</a:t>
            </a:r>
          </a:p>
        </p:txBody>
      </p:sp>
      <p:sp>
        <p:nvSpPr>
          <p:cNvPr id="35" name="Freeform: Shape 34">
            <a:extLst>
              <a:ext uri="{FF2B5EF4-FFF2-40B4-BE49-F238E27FC236}">
                <a16:creationId xmlns:a16="http://schemas.microsoft.com/office/drawing/2014/main" id="{79F57DF2-7AB9-4D3A-AADE-E93D5621B0F8}"/>
              </a:ext>
              <a:ext uri="{C183D7F6-B498-43B3-948B-1728B52AA6E4}">
                <adec:decorative xmlns:adec="http://schemas.microsoft.com/office/drawing/2017/decorative" val="1"/>
              </a:ext>
            </a:extLst>
          </p:cNvPr>
          <p:cNvSpPr/>
          <p:nvPr userDrawn="1"/>
        </p:nvSpPr>
        <p:spPr>
          <a:xfrm>
            <a:off x="0" y="0"/>
            <a:ext cx="8329286" cy="457200"/>
          </a:xfrm>
          <a:custGeom>
            <a:avLst/>
            <a:gdLst>
              <a:gd name="connsiteX0" fmla="*/ 0 w 8329286"/>
              <a:gd name="connsiteY0" fmla="*/ 0 h 457200"/>
              <a:gd name="connsiteX1" fmla="*/ 8329286 w 8329286"/>
              <a:gd name="connsiteY1" fmla="*/ 0 h 457200"/>
              <a:gd name="connsiteX2" fmla="*/ 7982281 w 8329286"/>
              <a:gd name="connsiteY2" fmla="*/ 457200 h 457200"/>
              <a:gd name="connsiteX3" fmla="*/ 0 w 832928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8329286" h="457200">
                <a:moveTo>
                  <a:pt x="0" y="0"/>
                </a:moveTo>
                <a:lnTo>
                  <a:pt x="8329286" y="0"/>
                </a:lnTo>
                <a:lnTo>
                  <a:pt x="7982281" y="457200"/>
                </a:lnTo>
                <a:lnTo>
                  <a:pt x="0" y="457200"/>
                </a:lnTo>
                <a:close/>
              </a:path>
            </a:pathLst>
          </a:cu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4196407271"/>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72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2969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6"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60572"/>
            <a:ext cx="580573" cy="6858000"/>
          </a:xfrm>
          <a:prstGeom prst="rect">
            <a:avLst/>
          </a:prstGeom>
        </p:spPr>
      </p:pic>
      <p:pic>
        <p:nvPicPr>
          <p:cNvPr id="3" name="Picture 2"/>
          <p:cNvPicPr>
            <a:picLocks noChangeAspect="1"/>
          </p:cNvPicPr>
          <p:nvPr userDrawn="1"/>
        </p:nvPicPr>
        <p:blipFill>
          <a:blip r:embed="rId8"/>
          <a:stretch>
            <a:fillRect/>
          </a:stretch>
        </p:blipFill>
        <p:spPr>
          <a:xfrm>
            <a:off x="0" y="-15972"/>
            <a:ext cx="12200006" cy="5230752"/>
          </a:xfrm>
          <a:prstGeom prst="rect">
            <a:avLst/>
          </a:prstGeom>
        </p:spPr>
      </p:pic>
      <p:sp>
        <p:nvSpPr>
          <p:cNvPr id="19" name="Rectangle 18"/>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ea typeface="+mn-ea"/>
              <a:cs typeface="+mn-cs"/>
              <a:sym typeface="+mn-lt"/>
            </a:endParaRPr>
          </a:p>
        </p:txBody>
      </p:sp>
      <p:sp>
        <p:nvSpPr>
          <p:cNvPr id="23"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4"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5"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ea typeface="+mj-ea"/>
                <a:cs typeface="+mj-cs"/>
                <a:sym typeface="+mj-lt"/>
              </a:defRPr>
            </a:lvl1pPr>
          </a:lstStyle>
          <a:p>
            <a:r>
              <a:rPr lang="en-US"/>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93565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fld id="{36B08987-9546-4079-A138-F9925901086C}" type="datetime1">
              <a:rPr lang="en-US" smtClean="0"/>
              <a:t>4/20/2021</a:t>
            </a:fld>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10480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4"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78702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8"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fld id="{80BC03FF-CF76-46FD-B78F-F7DD6980EA01}" type="datetime1">
              <a:rPr lang="en-US" smtClean="0"/>
              <a:t>4/20/2021</a:t>
            </a:fld>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023276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2"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6A45EFAB-5484-4ED7-9C00-7403DBD54829}" type="datetime1">
              <a:rPr lang="en-US" smtClean="0"/>
              <a:t>4/20/2021</a:t>
            </a:fld>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54279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9DE55657-681A-4422-80BB-569CB252E8F5}" type="datetime1">
              <a:rPr lang="en-US" smtClean="0"/>
              <a:t>4/20/2021</a:t>
            </a:fld>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6727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C50CCA14-A806-438F-912B-C8103E957BC2}" type="datetime1">
              <a:rPr lang="en-US" smtClean="0"/>
              <a:t>4/20/2021</a:t>
            </a:fld>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1818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D459B8A2-585E-4F65-9F01-948A6D4BC141}" type="datetime1">
              <a:rPr lang="en-US" smtClean="0"/>
              <a:t>4/20/2021</a:t>
            </a:fld>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05710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ADE26C82-4385-4A47-8F1E-2DF8F2F8EF4A}" type="datetime1">
              <a:rPr lang="en-US" smtClean="0"/>
              <a:t>4/20/2021</a:t>
            </a:fld>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07075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711943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27854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4AF81687-1360-4E3A-AA29-0F985A4B451D}" type="datetime1">
              <a:rPr lang="en-US" smtClean="0"/>
              <a:t>4/20/2021</a:t>
            </a:fld>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62086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39863AE5-129A-4913-82CA-AC66AAD1BB5D}" type="datetime1">
              <a:rPr lang="en-US" smtClean="0"/>
              <a:t>4/20/2021</a:t>
            </a:fld>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68151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DC6DCFD-137A-4532-B5D9-F5714402452B}" type="datetime1">
              <a:rPr lang="en-US" smtClean="0"/>
              <a:t>4/20/2021</a:t>
            </a:fld>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56662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4"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746475CD-5217-4CDA-B9FF-EE22FDC8D8D0}" type="datetime1">
              <a:rPr lang="en-US" smtClean="0"/>
              <a:t>4/20/2021</a:t>
            </a:fld>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64548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68"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72BA97A9-3F69-4EB0-A839-BE4D081BE86B}" type="datetime1">
              <a:rPr lang="en-US" smtClean="0"/>
              <a:t>4/20/2021</a:t>
            </a:fld>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54128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ACBB06F3-CCE4-4230-AED4-83301E5C0C5C}" type="datetime1">
              <a:rPr lang="en-US" smtClean="0"/>
              <a:t>4/20/2021</a:t>
            </a:fld>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01424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E8018A60-9384-4EF4-B0AC-39351A3E762B}" type="datetime1">
              <a:rPr lang="en-US" smtClean="0"/>
              <a:t>4/20/2021</a:t>
            </a:fld>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41998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381FF358-6B59-4008-94F4-CF7F90ECE703}" type="datetime1">
              <a:rPr lang="en-US" smtClean="0"/>
              <a:t>4/20/2021</a:t>
            </a:fld>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93839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DC93FA42-B754-4C26-B960-2DBA89E0406E}" type="datetime1">
              <a:rPr lang="en-US" smtClean="0"/>
              <a:t>4/20/2021</a:t>
            </a:fld>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63978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4929ACB9-0882-48F2-B333-2211B656E0C9}" type="datetime1">
              <a:rPr lang="en-US" smtClean="0"/>
              <a:t>4/20/2021</a:t>
            </a:fld>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30145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1297689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855654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2"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EC93B74F-ADBE-4D0C-9B79-690395BDCC6B}" type="datetime1">
              <a:rPr lang="en-US" smtClean="0"/>
              <a:t>4/20/2021</a:t>
            </a:fld>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69013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6" name="think-cell Slide" r:id="rId6" imgW="352" imgH="355" progId="TCLayout.ActiveDocument.1">
                  <p:embed/>
                </p:oleObj>
              </mc:Choice>
              <mc:Fallback>
                <p:oleObj name="think-cell Slide" r:id="rId6" imgW="352" imgH="355"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BB9E4558-2C1B-4916-8CCF-DA24D1D738FF}" type="datetime1">
              <a:rPr lang="en-US" smtClean="0"/>
              <a:t>4/20/2021</a:t>
            </a:fld>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big statement text</a:t>
            </a:r>
          </a:p>
        </p:txBody>
      </p:sp>
      <p:sp>
        <p:nvSpPr>
          <p:cNvPr id="10" name="FooterSimple" hidden="1"/>
          <p:cNvSpPr txBox="1"/>
          <p:nvPr userDrawn="1">
            <p:custDataLst>
              <p:tags r:id="rId4"/>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98720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60"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93726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4"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156665DE-293E-408A-97C6-12CDB3131330}" type="datetime1">
              <a:rPr lang="en-US" smtClean="0"/>
              <a:t>4/20/2021</a:t>
            </a:fld>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ea typeface="+mj-ea"/>
                <a:cs typeface="+mj-cs"/>
                <a:sym typeface="+mj-lt"/>
              </a:defRPr>
            </a:lvl1pPr>
          </a:lstStyle>
          <a:p>
            <a:r>
              <a:rPr lang="en-US"/>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6816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8"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B5E0E1BB-E3BD-42FD-A5F7-D5E70AA70C6D}" type="datetime1">
              <a:rPr lang="en-US" smtClean="0"/>
              <a:t>4/20/2021</a:t>
            </a:fld>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8714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56E622EC-72BE-40EA-9DCD-6DFB5738975A}" type="datetime1">
              <a:rPr lang="en-US" smtClean="0"/>
              <a:t>4/20/2021</a:t>
            </a:fld>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50781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16EAF721-352B-4B8A-A64E-36CA203C2E9C}" type="datetime1">
              <a:rPr lang="en-US" smtClean="0"/>
              <a:t>4/20/2021</a:t>
            </a:fld>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112267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8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1566" b="1878"/>
          <a:stretch/>
        </p:blipFill>
        <p:spPr>
          <a:xfrm>
            <a:off x="0" y="0"/>
            <a:ext cx="12193874" cy="6858000"/>
          </a:xfrm>
          <a:prstGeom prst="rect">
            <a:avLst/>
          </a:prstGeom>
          <a:noFill/>
          <a:ln>
            <a:noFill/>
          </a:ln>
        </p:spPr>
      </p:pic>
      <p:sp>
        <p:nvSpPr>
          <p:cNvPr id="11" name="Rectangle 1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ea typeface="+mn-ea"/>
              <a:cs typeface="+mn-cs"/>
              <a:sym typeface="+mn-lt"/>
            </a:endParaRPr>
          </a:p>
        </p:txBody>
      </p:sp>
      <p:pic>
        <p:nvPicPr>
          <p:cNvPr id="12" name="Picture 11"/>
          <p:cNvPicPr>
            <a:picLocks noChangeAspect="1"/>
          </p:cNvPicPr>
          <p:nvPr userDrawn="1"/>
        </p:nvPicPr>
        <p:blipFill rotWithShape="1">
          <a:blip r:embed="rId7">
            <a:clrChange>
              <a:clrFrom>
                <a:srgbClr val="1CABE2"/>
              </a:clrFrom>
              <a:clrTo>
                <a:srgbClr val="1CABE2">
                  <a:alpha val="0"/>
                </a:srgbClr>
              </a:clrTo>
            </a:clrChange>
          </a:blip>
          <a:srcRect r="29042"/>
          <a:stretch/>
        </p:blipFill>
        <p:spPr>
          <a:xfrm>
            <a:off x="2187718" y="2746978"/>
            <a:ext cx="5011636" cy="1288043"/>
          </a:xfrm>
          <a:prstGeom prst="rect">
            <a:avLst/>
          </a:prstGeom>
        </p:spPr>
      </p:pic>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26144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E97BFAB1-165B-4627-A51C-999A36DECDD4}" type="datetime1">
              <a:rPr lang="en-US" smtClean="0"/>
              <a:t>4/20/2021</a:t>
            </a:fld>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Learning Passport - Announcement Materials - 13Dec2019.pptx</a:t>
            </a: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70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8"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pic>
        <p:nvPicPr>
          <p:cNvPr id="17" name="Picture 16"/>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p:blipFill>
        <p:spPr>
          <a:xfrm rot="16200000" flipH="1">
            <a:off x="8471921" y="1960572"/>
            <a:ext cx="580573" cy="6858000"/>
          </a:xfrm>
          <a:prstGeom prst="rect">
            <a:avLst/>
          </a:prstGeom>
        </p:spPr>
      </p:pic>
      <p:pic>
        <p:nvPicPr>
          <p:cNvPr id="19" name="Picture 18"/>
          <p:cNvPicPr>
            <a:picLocks noChangeAspect="1"/>
          </p:cNvPicPr>
          <p:nvPr userDrawn="1"/>
        </p:nvPicPr>
        <p:blipFill rotWithShape="1">
          <a:blip r:embed="rId7">
            <a:extLst>
              <a:ext uri="{28A0092B-C50C-407E-A947-70E740481C1C}">
                <a14:useLocalDpi xmlns:a14="http://schemas.microsoft.com/office/drawing/2010/main" val="0"/>
              </a:ext>
            </a:extLst>
          </a:blip>
          <a:srcRect t="12070" b="14284"/>
          <a:stretch/>
        </p:blipFill>
        <p:spPr>
          <a:xfrm>
            <a:off x="0" y="-15972"/>
            <a:ext cx="12193874" cy="5230752"/>
          </a:xfrm>
          <a:prstGeom prst="rect">
            <a:avLst/>
          </a:prstGeom>
          <a:noFill/>
          <a:ln>
            <a:noFill/>
          </a:ln>
        </p:spPr>
      </p:pic>
      <p:sp>
        <p:nvSpPr>
          <p:cNvPr id="23" name="Rectangle 22"/>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ea typeface="+mn-ea"/>
              <a:cs typeface="+mn-cs"/>
              <a:sym typeface="+mn-lt"/>
            </a:endParaRPr>
          </a:p>
        </p:txBody>
      </p:sp>
      <p:sp>
        <p:nvSpPr>
          <p:cNvPr id="24"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5"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8"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ea typeface="+mj-ea"/>
                <a:cs typeface="+mj-cs"/>
                <a:sym typeface="+mj-lt"/>
              </a:defRPr>
            </a:lvl1pPr>
          </a:lstStyle>
          <a:p>
            <a:r>
              <a:rPr lang="en-US"/>
              <a:t>Title in Title Case</a:t>
            </a:r>
          </a:p>
        </p:txBody>
      </p:sp>
      <p:pic>
        <p:nvPicPr>
          <p:cNvPr id="29" name="Picture 28"/>
          <p:cNvPicPr>
            <a:picLocks noChangeAspect="1"/>
          </p:cNvPicPr>
          <p:nvPr userDrawn="1"/>
        </p:nvPicPr>
        <p:blipFill rotWithShape="1">
          <a:blip r:embed="rId8"/>
          <a:srcRect t="19288" b="20968"/>
          <a:stretch/>
        </p:blipFill>
        <p:spPr>
          <a:xfrm>
            <a:off x="9233860" y="5381791"/>
            <a:ext cx="2133333" cy="1274535"/>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ags" Target="../tags/tag3.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vmlDrawing" Target="../drawings/vmlDrawing1.v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image" Target="../media/image1.emf"/><Relationship Id="rId7" Type="http://schemas.openxmlformats.org/officeDocument/2006/relationships/slideLayout" Target="../slideLayouts/slideLayout7.xml"/><Relationship Id="rId7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6.xml"/><Relationship Id="rId21" Type="http://schemas.openxmlformats.org/officeDocument/2006/relationships/slideLayout" Target="../slideLayouts/slideLayout91.xml"/><Relationship Id="rId42" Type="http://schemas.openxmlformats.org/officeDocument/2006/relationships/slideLayout" Target="../slideLayouts/slideLayout112.xml"/><Relationship Id="rId47" Type="http://schemas.openxmlformats.org/officeDocument/2006/relationships/slideLayout" Target="../slideLayouts/slideLayout117.xml"/><Relationship Id="rId63" Type="http://schemas.openxmlformats.org/officeDocument/2006/relationships/slideLayout" Target="../slideLayouts/slideLayout133.xml"/><Relationship Id="rId68" Type="http://schemas.openxmlformats.org/officeDocument/2006/relationships/slideLayout" Target="../slideLayouts/slideLayout138.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9" Type="http://schemas.openxmlformats.org/officeDocument/2006/relationships/slideLayout" Target="../slideLayouts/slideLayout99.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40" Type="http://schemas.openxmlformats.org/officeDocument/2006/relationships/slideLayout" Target="../slideLayouts/slideLayout110.xml"/><Relationship Id="rId45" Type="http://schemas.openxmlformats.org/officeDocument/2006/relationships/slideLayout" Target="../slideLayouts/slideLayout115.xml"/><Relationship Id="rId53" Type="http://schemas.openxmlformats.org/officeDocument/2006/relationships/slideLayout" Target="../slideLayouts/slideLayout123.xml"/><Relationship Id="rId58" Type="http://schemas.openxmlformats.org/officeDocument/2006/relationships/slideLayout" Target="../slideLayouts/slideLayout128.xml"/><Relationship Id="rId66" Type="http://schemas.openxmlformats.org/officeDocument/2006/relationships/slideLayout" Target="../slideLayouts/slideLayout136.xml"/><Relationship Id="rId74" Type="http://schemas.openxmlformats.org/officeDocument/2006/relationships/oleObject" Target="../embeddings/oleObject69.bin"/><Relationship Id="rId5" Type="http://schemas.openxmlformats.org/officeDocument/2006/relationships/slideLayout" Target="../slideLayouts/slideLayout75.xml"/><Relationship Id="rId61" Type="http://schemas.openxmlformats.org/officeDocument/2006/relationships/slideLayout" Target="../slideLayouts/slideLayout131.xml"/><Relationship Id="rId19" Type="http://schemas.openxmlformats.org/officeDocument/2006/relationships/slideLayout" Target="../slideLayouts/slideLayout8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43" Type="http://schemas.openxmlformats.org/officeDocument/2006/relationships/slideLayout" Target="../slideLayouts/slideLayout113.xml"/><Relationship Id="rId48" Type="http://schemas.openxmlformats.org/officeDocument/2006/relationships/slideLayout" Target="../slideLayouts/slideLayout118.xml"/><Relationship Id="rId56" Type="http://schemas.openxmlformats.org/officeDocument/2006/relationships/slideLayout" Target="../slideLayouts/slideLayout126.xml"/><Relationship Id="rId64" Type="http://schemas.openxmlformats.org/officeDocument/2006/relationships/slideLayout" Target="../slideLayouts/slideLayout134.xml"/><Relationship Id="rId69" Type="http://schemas.openxmlformats.org/officeDocument/2006/relationships/slideLayout" Target="../slideLayouts/slideLayout139.xml"/><Relationship Id="rId8" Type="http://schemas.openxmlformats.org/officeDocument/2006/relationships/slideLayout" Target="../slideLayouts/slideLayout78.xml"/><Relationship Id="rId51" Type="http://schemas.openxmlformats.org/officeDocument/2006/relationships/slideLayout" Target="../slideLayouts/slideLayout121.xml"/><Relationship Id="rId72" Type="http://schemas.openxmlformats.org/officeDocument/2006/relationships/tags" Target="../tags/tag126.xml"/><Relationship Id="rId3" Type="http://schemas.openxmlformats.org/officeDocument/2006/relationships/slideLayout" Target="../slideLayouts/slideLayout73.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slideLayout" Target="../slideLayouts/slideLayout108.xml"/><Relationship Id="rId46" Type="http://schemas.openxmlformats.org/officeDocument/2006/relationships/slideLayout" Target="../slideLayouts/slideLayout116.xml"/><Relationship Id="rId59" Type="http://schemas.openxmlformats.org/officeDocument/2006/relationships/slideLayout" Target="../slideLayouts/slideLayout129.xml"/><Relationship Id="rId67" Type="http://schemas.openxmlformats.org/officeDocument/2006/relationships/slideLayout" Target="../slideLayouts/slideLayout137.xml"/><Relationship Id="rId20" Type="http://schemas.openxmlformats.org/officeDocument/2006/relationships/slideLayout" Target="../slideLayouts/slideLayout90.xml"/><Relationship Id="rId41" Type="http://schemas.openxmlformats.org/officeDocument/2006/relationships/slideLayout" Target="../slideLayouts/slideLayout111.xml"/><Relationship Id="rId54" Type="http://schemas.openxmlformats.org/officeDocument/2006/relationships/slideLayout" Target="../slideLayouts/slideLayout124.xml"/><Relationship Id="rId62" Type="http://schemas.openxmlformats.org/officeDocument/2006/relationships/slideLayout" Target="../slideLayouts/slideLayout132.xml"/><Relationship Id="rId70" Type="http://schemas.openxmlformats.org/officeDocument/2006/relationships/theme" Target="../theme/theme2.xml"/><Relationship Id="rId75" Type="http://schemas.openxmlformats.org/officeDocument/2006/relationships/image" Target="../media/image1.emf"/><Relationship Id="rId1" Type="http://schemas.openxmlformats.org/officeDocument/2006/relationships/slideLayout" Target="../slideLayouts/slideLayout71.xml"/><Relationship Id="rId6" Type="http://schemas.openxmlformats.org/officeDocument/2006/relationships/slideLayout" Target="../slideLayouts/slideLayout76.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49" Type="http://schemas.openxmlformats.org/officeDocument/2006/relationships/slideLayout" Target="../slideLayouts/slideLayout119.xml"/><Relationship Id="rId57" Type="http://schemas.openxmlformats.org/officeDocument/2006/relationships/slideLayout" Target="../slideLayouts/slideLayout127.xml"/><Relationship Id="rId10" Type="http://schemas.openxmlformats.org/officeDocument/2006/relationships/slideLayout" Target="../slideLayouts/slideLayout80.xml"/><Relationship Id="rId31" Type="http://schemas.openxmlformats.org/officeDocument/2006/relationships/slideLayout" Target="../slideLayouts/slideLayout101.xml"/><Relationship Id="rId44" Type="http://schemas.openxmlformats.org/officeDocument/2006/relationships/slideLayout" Target="../slideLayouts/slideLayout114.xml"/><Relationship Id="rId52" Type="http://schemas.openxmlformats.org/officeDocument/2006/relationships/slideLayout" Target="../slideLayouts/slideLayout122.xml"/><Relationship Id="rId60" Type="http://schemas.openxmlformats.org/officeDocument/2006/relationships/slideLayout" Target="../slideLayouts/slideLayout130.xml"/><Relationship Id="rId65" Type="http://schemas.openxmlformats.org/officeDocument/2006/relationships/slideLayout" Target="../slideLayouts/slideLayout135.xml"/><Relationship Id="rId73" Type="http://schemas.openxmlformats.org/officeDocument/2006/relationships/tags" Target="../tags/tag127.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9" Type="http://schemas.openxmlformats.org/officeDocument/2006/relationships/slideLayout" Target="../slideLayouts/slideLayout109.xml"/><Relationship Id="rId34" Type="http://schemas.openxmlformats.org/officeDocument/2006/relationships/slideLayout" Target="../slideLayouts/slideLayout104.xml"/><Relationship Id="rId50" Type="http://schemas.openxmlformats.org/officeDocument/2006/relationships/slideLayout" Target="../slideLayouts/slideLayout120.xml"/><Relationship Id="rId55" Type="http://schemas.openxmlformats.org/officeDocument/2006/relationships/slideLayout" Target="../slideLayouts/slideLayout125.xml"/><Relationship Id="rId7" Type="http://schemas.openxmlformats.org/officeDocument/2006/relationships/slideLayout" Target="../slideLayouts/slideLayout77.xml"/><Relationship Id="rId71" Type="http://schemas.openxmlformats.org/officeDocument/2006/relationships/vmlDrawing" Target="../drawings/vmlDrawing69.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extLst>
              <p:ext uri="{D42A27DB-BD31-4B8C-83A1-F6EECF244321}">
                <p14:modId xmlns:p14="http://schemas.microsoft.com/office/powerpoint/2010/main" val="26230520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75" imgW="270" imgH="270" progId="TCLayout.ActiveDocument.1">
                  <p:embed/>
                </p:oleObj>
              </mc:Choice>
              <mc:Fallback>
                <p:oleObj name="think-cell Slide" r:id="rId75" imgW="270" imgH="270" progId="TCLayout.ActiveDocument.1">
                  <p:embed/>
                  <p:pic>
                    <p:nvPicPr>
                      <p:cNvPr id="2" name="Object 1" hidden="1"/>
                      <p:cNvPicPr/>
                      <p:nvPr/>
                    </p:nvPicPr>
                    <p:blipFill>
                      <a:blip r:embed="rId7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4"/>
            </p:custDataLst>
          </p:nvPr>
        </p:nvSpPr>
        <p:spPr>
          <a:xfrm>
            <a:off x="0" y="0"/>
            <a:ext cx="158750" cy="158750"/>
          </a:xfrm>
          <a:prstGeom prst="rect">
            <a:avLst/>
          </a:prstGeom>
          <a:solidFill>
            <a:srgbClr val="00AEEF"/>
          </a:solidFill>
          <a:ln w="9525" cap="rnd" cmpd="sng" algn="ctr">
            <a:solidFill>
              <a:srgbClr val="00AEE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rgbClr val="FFFFFF"/>
              </a:solidFill>
              <a:latin typeface="Arial" panose="020B0604020202020204" pitchFamily="34" charset="0"/>
              <a:ea typeface="+mj-ea"/>
              <a:cs typeface="+mj-cs"/>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646519217"/>
      </p:ext>
    </p:extLst>
  </p:cSld>
  <p:clrMap bg1="lt1" tx1="dk1" bg2="lt2" tx2="dk2" accent1="accent1" accent2="accent2" accent3="accent3" accent4="accent4" accent5="accent5" accent6="accent6" hlink="hlink" folHlink="folHlink"/>
  <p:sldLayoutIdLst>
    <p:sldLayoutId id="2147485261" r:id="rId1"/>
    <p:sldLayoutId id="2147485262" r:id="rId2"/>
    <p:sldLayoutId id="2147485263" r:id="rId3"/>
    <p:sldLayoutId id="2147485264" r:id="rId4"/>
    <p:sldLayoutId id="2147485265" r:id="rId5"/>
    <p:sldLayoutId id="2147485266" r:id="rId6"/>
    <p:sldLayoutId id="2147485267" r:id="rId7"/>
    <p:sldLayoutId id="2147485268" r:id="rId8"/>
    <p:sldLayoutId id="2147485269" r:id="rId9"/>
    <p:sldLayoutId id="2147485270" r:id="rId10"/>
    <p:sldLayoutId id="2147485271" r:id="rId11"/>
    <p:sldLayoutId id="2147485272" r:id="rId12"/>
    <p:sldLayoutId id="2147485273" r:id="rId13"/>
    <p:sldLayoutId id="2147485274" r:id="rId14"/>
    <p:sldLayoutId id="2147485275" r:id="rId15"/>
    <p:sldLayoutId id="2147485276" r:id="rId16"/>
    <p:sldLayoutId id="2147485277" r:id="rId17"/>
    <p:sldLayoutId id="2147485278" r:id="rId18"/>
    <p:sldLayoutId id="2147485279" r:id="rId19"/>
    <p:sldLayoutId id="2147485280" r:id="rId20"/>
    <p:sldLayoutId id="2147485281" r:id="rId21"/>
    <p:sldLayoutId id="2147485282" r:id="rId22"/>
    <p:sldLayoutId id="2147485283" r:id="rId23"/>
    <p:sldLayoutId id="2147485284" r:id="rId24"/>
    <p:sldLayoutId id="2147485285" r:id="rId25"/>
    <p:sldLayoutId id="2147485286" r:id="rId26"/>
    <p:sldLayoutId id="2147485287" r:id="rId27"/>
    <p:sldLayoutId id="2147485288" r:id="rId28"/>
    <p:sldLayoutId id="2147485289" r:id="rId29"/>
    <p:sldLayoutId id="2147485290" r:id="rId30"/>
    <p:sldLayoutId id="2147485291" r:id="rId31"/>
    <p:sldLayoutId id="2147485292" r:id="rId32"/>
    <p:sldLayoutId id="2147485293" r:id="rId33"/>
    <p:sldLayoutId id="2147485294" r:id="rId34"/>
    <p:sldLayoutId id="2147485295" r:id="rId35"/>
    <p:sldLayoutId id="2147485296" r:id="rId36"/>
    <p:sldLayoutId id="2147485297" r:id="rId37"/>
    <p:sldLayoutId id="2147485298" r:id="rId38"/>
    <p:sldLayoutId id="2147485299" r:id="rId39"/>
    <p:sldLayoutId id="2147485300" r:id="rId40"/>
    <p:sldLayoutId id="2147485301" r:id="rId41"/>
    <p:sldLayoutId id="2147485302" r:id="rId42"/>
    <p:sldLayoutId id="2147485303" r:id="rId43"/>
    <p:sldLayoutId id="2147485304" r:id="rId44"/>
    <p:sldLayoutId id="2147485305" r:id="rId45"/>
    <p:sldLayoutId id="2147485306" r:id="rId46"/>
    <p:sldLayoutId id="2147485307" r:id="rId47"/>
    <p:sldLayoutId id="2147485308" r:id="rId48"/>
    <p:sldLayoutId id="2147485309" r:id="rId49"/>
    <p:sldLayoutId id="2147485310" r:id="rId50"/>
    <p:sldLayoutId id="2147485311" r:id="rId51"/>
    <p:sldLayoutId id="2147485312" r:id="rId52"/>
    <p:sldLayoutId id="2147485313" r:id="rId53"/>
    <p:sldLayoutId id="2147485314" r:id="rId54"/>
    <p:sldLayoutId id="2147485315" r:id="rId55"/>
    <p:sldLayoutId id="2147485316" r:id="rId56"/>
    <p:sldLayoutId id="2147485317" r:id="rId57"/>
    <p:sldLayoutId id="2147485318" r:id="rId58"/>
    <p:sldLayoutId id="2147485319" r:id="rId59"/>
    <p:sldLayoutId id="2147485320" r:id="rId60"/>
    <p:sldLayoutId id="2147485321" r:id="rId61"/>
    <p:sldLayoutId id="2147485322" r:id="rId62"/>
    <p:sldLayoutId id="2147485323" r:id="rId63"/>
    <p:sldLayoutId id="2147485324" r:id="rId64"/>
    <p:sldLayoutId id="2147485325" r:id="rId65"/>
    <p:sldLayoutId id="2147485326" r:id="rId66"/>
    <p:sldLayoutId id="2147485327" r:id="rId67"/>
    <p:sldLayoutId id="2147485328" r:id="rId68"/>
    <p:sldLayoutId id="2147485329" r:id="rId69"/>
    <p:sldLayoutId id="2147485330"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13784578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2"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3"/>
            </p:custDataLst>
          </p:nvPr>
        </p:nvSpPr>
        <p:spPr>
          <a:xfrm>
            <a:off x="0" y="0"/>
            <a:ext cx="158750" cy="158750"/>
          </a:xfrm>
          <a:prstGeom prst="rect">
            <a:avLst/>
          </a:prstGeom>
          <a:solidFill>
            <a:srgbClr val="00AEEF"/>
          </a:solidFill>
          <a:ln w="9525" cap="rnd" cmpd="sng" algn="ctr">
            <a:solidFill>
              <a:srgbClr val="00AEE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err="1">
              <a:solidFill>
                <a:srgbClr val="FFFFFF"/>
              </a:solidFill>
              <a:latin typeface="Arial" panose="020B0604020202020204" pitchFamily="34" charset="0"/>
              <a:ea typeface="+mj-ea"/>
              <a:cs typeface="+mj-cs"/>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40DEA557-8AE7-4330-A9B6-2CF1BDBD0355}" type="datetime1">
              <a:rPr lang="en-US" smtClean="0"/>
              <a:t>4/20/2021</a:t>
            </a:fld>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 id="2147485185" r:id="rId68"/>
    <p:sldLayoutId id="2147485186"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39.xml"/><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100.xml"/></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108.xml"/></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10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8.xml"/></Relationships>
</file>

<file path=ppt/slides/_rels/slide14.xml.rels><?xml version="1.0" encoding="UTF-8" standalone="yes"?>
<Relationships xmlns="http://schemas.openxmlformats.org/package/2006/relationships"><Relationship Id="rId8" Type="http://schemas.openxmlformats.org/officeDocument/2006/relationships/hyperlink" Target="mailto:rjenkins@unicef.org" TargetMode="External"/><Relationship Id="rId3" Type="http://schemas.openxmlformats.org/officeDocument/2006/relationships/tags" Target="../tags/tag256.xml"/><Relationship Id="rId7" Type="http://schemas.openxmlformats.org/officeDocument/2006/relationships/image" Target="../media/image20.emf"/><Relationship Id="rId2" Type="http://schemas.openxmlformats.org/officeDocument/2006/relationships/tags" Target="../tags/tag255.xml"/><Relationship Id="rId1" Type="http://schemas.openxmlformats.org/officeDocument/2006/relationships/vmlDrawing" Target="../drawings/vmlDrawing139.vml"/><Relationship Id="rId6" Type="http://schemas.openxmlformats.org/officeDocument/2006/relationships/oleObject" Target="../embeddings/oleObject140.bin"/><Relationship Id="rId11" Type="http://schemas.openxmlformats.org/officeDocument/2006/relationships/image" Target="../media/image5.emf"/><Relationship Id="rId5" Type="http://schemas.openxmlformats.org/officeDocument/2006/relationships/slideLayout" Target="../slideLayouts/slideLayout114.xml"/><Relationship Id="rId10" Type="http://schemas.openxmlformats.org/officeDocument/2006/relationships/oleObject" Target="../embeddings/oleObject141.bin"/><Relationship Id="rId4" Type="http://schemas.openxmlformats.org/officeDocument/2006/relationships/tags" Target="../tags/tag257.xml"/><Relationship Id="rId9" Type="http://schemas.openxmlformats.org/officeDocument/2006/relationships/hyperlink" Target="https://www.learningpassport.org/" TargetMode="Externa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tags" Target="../tags/tag258.xml"/><Relationship Id="rId1" Type="http://schemas.openxmlformats.org/officeDocument/2006/relationships/vmlDrawing" Target="../drawings/vmlDrawing140.vml"/><Relationship Id="rId6" Type="http://schemas.openxmlformats.org/officeDocument/2006/relationships/image" Target="../media/image44.jpeg"/><Relationship Id="rId5" Type="http://schemas.openxmlformats.org/officeDocument/2006/relationships/image" Target="../media/image20.emf"/><Relationship Id="rId4" Type="http://schemas.openxmlformats.org/officeDocument/2006/relationships/oleObject" Target="../embeddings/oleObject142.bin"/></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141.bin"/><Relationship Id="rId3" Type="http://schemas.openxmlformats.org/officeDocument/2006/relationships/tags" Target="../tags/tag260.xml"/><Relationship Id="rId7" Type="http://schemas.openxmlformats.org/officeDocument/2006/relationships/image" Target="../media/image20.emf"/><Relationship Id="rId2" Type="http://schemas.openxmlformats.org/officeDocument/2006/relationships/tags" Target="../tags/tag259.xml"/><Relationship Id="rId1" Type="http://schemas.openxmlformats.org/officeDocument/2006/relationships/vmlDrawing" Target="../drawings/vmlDrawing141.vml"/><Relationship Id="rId6" Type="http://schemas.openxmlformats.org/officeDocument/2006/relationships/oleObject" Target="../embeddings/oleObject140.bin"/><Relationship Id="rId5" Type="http://schemas.openxmlformats.org/officeDocument/2006/relationships/slideLayout" Target="../slideLayouts/slideLayout117.xml"/><Relationship Id="rId4" Type="http://schemas.openxmlformats.org/officeDocument/2006/relationships/tags" Target="../tags/tag261.xml"/><Relationship Id="rId9" Type="http://schemas.openxmlformats.org/officeDocument/2006/relationships/image" Target="../media/image5.emf"/></Relationships>
</file>

<file path=ppt/slides/_rels/slide1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01.xml"/></Relationships>
</file>

<file path=ppt/slides/_rels/slide18.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263.xml"/><Relationship Id="rId7" Type="http://schemas.openxmlformats.org/officeDocument/2006/relationships/oleObject" Target="../embeddings/oleObject143.bin"/><Relationship Id="rId12" Type="http://schemas.openxmlformats.org/officeDocument/2006/relationships/image" Target="../media/image49.png"/><Relationship Id="rId2" Type="http://schemas.openxmlformats.org/officeDocument/2006/relationships/tags" Target="../tags/tag262.xml"/><Relationship Id="rId1" Type="http://schemas.openxmlformats.org/officeDocument/2006/relationships/vmlDrawing" Target="../drawings/vmlDrawing142.vml"/><Relationship Id="rId6" Type="http://schemas.openxmlformats.org/officeDocument/2006/relationships/image" Target="../media/image46.png"/><Relationship Id="rId11" Type="http://schemas.openxmlformats.org/officeDocument/2006/relationships/image" Target="../media/image48.png"/><Relationship Id="rId5" Type="http://schemas.openxmlformats.org/officeDocument/2006/relationships/notesSlide" Target="../notesSlides/notesSlide13.xml"/><Relationship Id="rId10" Type="http://schemas.openxmlformats.org/officeDocument/2006/relationships/image" Target="../media/image17.png"/><Relationship Id="rId4" Type="http://schemas.openxmlformats.org/officeDocument/2006/relationships/slideLayout" Target="../slideLayouts/slideLayout100.xml"/><Relationship Id="rId9" Type="http://schemas.openxmlformats.org/officeDocument/2006/relationships/image" Target="../media/image47.png"/></Relationships>
</file>

<file path=ppt/slides/_rels/slide19.xml.rels><?xml version="1.0" encoding="UTF-8" standalone="yes"?>
<Relationships xmlns="http://schemas.openxmlformats.org/package/2006/relationships"><Relationship Id="rId8" Type="http://schemas.openxmlformats.org/officeDocument/2006/relationships/image" Target="../media/image50.png"/><Relationship Id="rId13" Type="http://schemas.microsoft.com/office/2007/relationships/hdphoto" Target="../media/hdphoto2.wdp"/><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53.png"/><Relationship Id="rId2" Type="http://schemas.openxmlformats.org/officeDocument/2006/relationships/notesSlide" Target="../notesSlides/notesSlide14.xml"/><Relationship Id="rId1" Type="http://schemas.openxmlformats.org/officeDocument/2006/relationships/slideLayout" Target="../slideLayouts/slideLayout100.xml"/><Relationship Id="rId6" Type="http://schemas.openxmlformats.org/officeDocument/2006/relationships/diagramColors" Target="../diagrams/colors2.xml"/><Relationship Id="rId11" Type="http://schemas.openxmlformats.org/officeDocument/2006/relationships/image" Target="../media/image52.png"/><Relationship Id="rId5" Type="http://schemas.openxmlformats.org/officeDocument/2006/relationships/diagramQuickStyle" Target="../diagrams/quickStyle2.xml"/><Relationship Id="rId10" Type="http://schemas.microsoft.com/office/2007/relationships/hdphoto" Target="../media/hdphoto1.wdp"/><Relationship Id="rId4" Type="http://schemas.openxmlformats.org/officeDocument/2006/relationships/diagramLayout" Target="../diagrams/layout2.xml"/><Relationship Id="rId9" Type="http://schemas.openxmlformats.org/officeDocument/2006/relationships/image" Target="../media/image51.png"/></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37.bin"/><Relationship Id="rId3" Type="http://schemas.openxmlformats.org/officeDocument/2006/relationships/tags" Target="../tags/tag251.xml"/><Relationship Id="rId7" Type="http://schemas.openxmlformats.org/officeDocument/2006/relationships/image" Target="../media/image19.png"/><Relationship Id="rId2" Type="http://schemas.openxmlformats.org/officeDocument/2006/relationships/tags" Target="../tags/tag250.xml"/><Relationship Id="rId1" Type="http://schemas.openxmlformats.org/officeDocument/2006/relationships/vmlDrawing" Target="../drawings/vmlDrawing137.vml"/><Relationship Id="rId6" Type="http://schemas.openxmlformats.org/officeDocument/2006/relationships/notesSlide" Target="../notesSlides/notesSlide2.xml"/><Relationship Id="rId11" Type="http://schemas.openxmlformats.org/officeDocument/2006/relationships/image" Target="../media/image5.emf"/><Relationship Id="rId5" Type="http://schemas.openxmlformats.org/officeDocument/2006/relationships/slideLayout" Target="../slideLayouts/slideLayout100.xml"/><Relationship Id="rId10" Type="http://schemas.openxmlformats.org/officeDocument/2006/relationships/oleObject" Target="../embeddings/oleObject138.bin"/><Relationship Id="rId4" Type="http://schemas.openxmlformats.org/officeDocument/2006/relationships/tags" Target="../tags/tag252.xml"/><Relationship Id="rId9" Type="http://schemas.openxmlformats.org/officeDocument/2006/relationships/image" Target="../media/image18.emf"/></Relationships>
</file>

<file path=ppt/slides/_rels/slide2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5.xml"/><Relationship Id="rId1" Type="http://schemas.openxmlformats.org/officeDocument/2006/relationships/slideLayout" Target="../slideLayouts/slideLayout100.xml"/><Relationship Id="rId4" Type="http://schemas.microsoft.com/office/2007/relationships/hdphoto" Target="../media/hdphoto3.wdp"/></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image" Target="../media/image21.jpeg"/><Relationship Id="rId3" Type="http://schemas.openxmlformats.org/officeDocument/2006/relationships/tags" Target="../tags/tag254.xml"/><Relationship Id="rId7" Type="http://schemas.openxmlformats.org/officeDocument/2006/relationships/image" Target="../media/image20.emf"/><Relationship Id="rId12" Type="http://schemas.microsoft.com/office/2007/relationships/diagramDrawing" Target="../diagrams/drawing1.xml"/><Relationship Id="rId2" Type="http://schemas.openxmlformats.org/officeDocument/2006/relationships/tags" Target="../tags/tag253.xml"/><Relationship Id="rId1" Type="http://schemas.openxmlformats.org/officeDocument/2006/relationships/vmlDrawing" Target="../drawings/vmlDrawing138.vml"/><Relationship Id="rId6" Type="http://schemas.openxmlformats.org/officeDocument/2006/relationships/oleObject" Target="../embeddings/oleObject139.bin"/><Relationship Id="rId11" Type="http://schemas.openxmlformats.org/officeDocument/2006/relationships/diagramColors" Target="../diagrams/colors1.xml"/><Relationship Id="rId5" Type="http://schemas.openxmlformats.org/officeDocument/2006/relationships/notesSlide" Target="../notesSlides/notesSlide3.xml"/><Relationship Id="rId15" Type="http://schemas.openxmlformats.org/officeDocument/2006/relationships/image" Target="../media/image23.jpeg"/><Relationship Id="rId10" Type="http://schemas.openxmlformats.org/officeDocument/2006/relationships/diagramQuickStyle" Target="../diagrams/quickStyle1.xml"/><Relationship Id="rId4" Type="http://schemas.openxmlformats.org/officeDocument/2006/relationships/slideLayout" Target="../slideLayouts/slideLayout95.xml"/><Relationship Id="rId9" Type="http://schemas.openxmlformats.org/officeDocument/2006/relationships/diagramLayout" Target="../diagrams/layout1.xml"/><Relationship Id="rId14" Type="http://schemas.openxmlformats.org/officeDocument/2006/relationships/image" Target="../media/image22.jpeg"/></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115.xml"/><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6.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115.xml"/><Relationship Id="rId5" Type="http://schemas.openxmlformats.org/officeDocument/2006/relationships/image" Target="../media/image30.png"/><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5.xml"/><Relationship Id="rId6" Type="http://schemas.openxmlformats.org/officeDocument/2006/relationships/image" Target="../media/image35.jpeg"/><Relationship Id="rId5" Type="http://schemas.openxmlformats.org/officeDocument/2006/relationships/image" Target="../media/image34.png"/><Relationship Id="rId4" Type="http://schemas.openxmlformats.org/officeDocument/2006/relationships/image" Target="../media/image33.png"/></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55.xml"/><Relationship Id="rId5" Type="http://schemas.openxmlformats.org/officeDocument/2006/relationships/image" Target="../media/image38.png"/><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125.xml"/><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Image result for microsoft logo">
            <a:extLst>
              <a:ext uri="{FF2B5EF4-FFF2-40B4-BE49-F238E27FC236}">
                <a16:creationId xmlns:a16="http://schemas.microsoft.com/office/drawing/2014/main" id="{ADADB310-5907-48D4-B09F-F65C56E714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7004" b="31447"/>
          <a:stretch/>
        </p:blipFill>
        <p:spPr bwMode="auto">
          <a:xfrm>
            <a:off x="0" y="6470293"/>
            <a:ext cx="1399681" cy="38770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E61C0614-44FA-4EDF-9A80-EFDA773D024C}"/>
              </a:ext>
            </a:extLst>
          </p:cNvPr>
          <p:cNvPicPr>
            <a:picLocks noChangeAspect="1"/>
          </p:cNvPicPr>
          <p:nvPr/>
        </p:nvPicPr>
        <p:blipFill>
          <a:blip r:embed="rId4"/>
          <a:stretch>
            <a:fillRect/>
          </a:stretch>
        </p:blipFill>
        <p:spPr>
          <a:xfrm>
            <a:off x="1" y="0"/>
            <a:ext cx="12191999" cy="6700800"/>
          </a:xfrm>
          <a:prstGeom prst="rect">
            <a:avLst/>
          </a:prstGeom>
        </p:spPr>
      </p:pic>
      <p:sp>
        <p:nvSpPr>
          <p:cNvPr id="2" name="Rectangle 2">
            <a:extLst>
              <a:ext uri="{FF2B5EF4-FFF2-40B4-BE49-F238E27FC236}">
                <a16:creationId xmlns:a16="http://schemas.microsoft.com/office/drawing/2014/main" id="{9E62CE70-68DC-4D66-94A2-8A539DF66DB2}"/>
              </a:ext>
            </a:extLst>
          </p:cNvPr>
          <p:cNvSpPr>
            <a:spLocks noChangeArrowheads="1"/>
          </p:cNvSpPr>
          <p:nvPr/>
        </p:nvSpPr>
        <p:spPr bwMode="auto">
          <a:xfrm>
            <a:off x="196395" y="3743023"/>
            <a:ext cx="9345478" cy="1608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defTabSz="685800" eaLnBrk="0" fontAlgn="base" hangingPunct="0">
              <a:spcBef>
                <a:spcPct val="0"/>
              </a:spcBef>
              <a:spcAft>
                <a:spcPct val="0"/>
              </a:spcAft>
              <a:defRPr/>
            </a:pPr>
            <a:r>
              <a:rPr lang="en-US" altLang="en-US" sz="4800" b="1" dirty="0">
                <a:solidFill>
                  <a:schemeClr val="bg1"/>
                </a:solidFill>
                <a:effectLst>
                  <a:outerShdw blurRad="38100" dist="38100" dir="2700000" algn="tl">
                    <a:srgbClr val="000000">
                      <a:alpha val="43137"/>
                    </a:srgbClr>
                  </a:outerShdw>
                </a:effectLst>
                <a:latin typeface="Segoe UI" panose="020B0502040204020203" pitchFamily="34" charset="0"/>
                <a:ea typeface="Times New Roman" panose="02020603050405020304" pitchFamily="18" charset="0"/>
                <a:cs typeface="Segoe UI" panose="020B0502040204020203" pitchFamily="34" charset="0"/>
              </a:rPr>
              <a:t>Learning Passport</a:t>
            </a:r>
          </a:p>
          <a:p>
            <a:pPr defTabSz="685800" eaLnBrk="0" fontAlgn="base" hangingPunct="0">
              <a:spcBef>
                <a:spcPct val="0"/>
              </a:spcBef>
              <a:spcAft>
                <a:spcPct val="0"/>
              </a:spcAft>
              <a:defRPr/>
            </a:pPr>
            <a:r>
              <a:rPr lang="en-US" altLang="en-US" sz="1600" i="1" dirty="0">
                <a:solidFill>
                  <a:schemeClr val="bg1"/>
                </a:solidFill>
                <a:latin typeface="Segoe UI" panose="020B0502040204020203" pitchFamily="34" charset="0"/>
                <a:ea typeface="Times New Roman" panose="02020603050405020304" pitchFamily="18" charset="0"/>
                <a:cs typeface="Segoe UI" panose="020B0502040204020203" pitchFamily="34" charset="0"/>
              </a:rPr>
              <a:t>Transforming Societies through Education</a:t>
            </a:r>
          </a:p>
          <a:p>
            <a:pPr defTabSz="685800" eaLnBrk="0" fontAlgn="base" hangingPunct="0">
              <a:spcBef>
                <a:spcPct val="0"/>
              </a:spcBef>
              <a:spcAft>
                <a:spcPct val="0"/>
              </a:spcAft>
              <a:defRPr/>
            </a:pPr>
            <a:endParaRPr lang="en-US" altLang="en-US" sz="400" b="1" dirty="0">
              <a:solidFill>
                <a:schemeClr val="bg1"/>
              </a:solidFill>
              <a:effectLst>
                <a:outerShdw blurRad="38100" dist="38100" dir="2700000" algn="tl">
                  <a:srgbClr val="000000">
                    <a:alpha val="43137"/>
                  </a:srgbClr>
                </a:outerShdw>
              </a:effectLst>
              <a:latin typeface="Segoe UI" panose="020B0502040204020203" pitchFamily="34" charset="0"/>
              <a:ea typeface="Times New Roman" panose="02020603050405020304" pitchFamily="18" charset="0"/>
              <a:cs typeface="Segoe UI" panose="020B0502040204020203" pitchFamily="34" charset="0"/>
            </a:endParaRPr>
          </a:p>
          <a:p>
            <a:pPr defTabSz="685800" eaLnBrk="0" fontAlgn="base" hangingPunct="0">
              <a:spcBef>
                <a:spcPct val="0"/>
              </a:spcBef>
              <a:spcAft>
                <a:spcPct val="0"/>
              </a:spcAft>
              <a:defRPr/>
            </a:pPr>
            <a:r>
              <a:rPr lang="en-US" altLang="en-US" sz="3200" b="1" dirty="0">
                <a:solidFill>
                  <a:schemeClr val="bg1"/>
                </a:solidFill>
                <a:effectLst>
                  <a:outerShdw blurRad="38100" dist="38100" dir="2700000" algn="tl">
                    <a:srgbClr val="000000">
                      <a:alpha val="43137"/>
                    </a:srgbClr>
                  </a:outerShdw>
                </a:effectLst>
                <a:latin typeface="Segoe UI" panose="020B0502040204020203" pitchFamily="34" charset="0"/>
                <a:ea typeface="Times New Roman" panose="02020603050405020304" pitchFamily="18" charset="0"/>
                <a:cs typeface="Segoe UI" panose="020B0502040204020203" pitchFamily="34" charset="0"/>
              </a:rPr>
              <a:t>ILO Virtual Tech Fair</a:t>
            </a:r>
          </a:p>
        </p:txBody>
      </p:sp>
      <p:sp>
        <p:nvSpPr>
          <p:cNvPr id="7" name="Rectangle 6">
            <a:extLst>
              <a:ext uri="{FF2B5EF4-FFF2-40B4-BE49-F238E27FC236}">
                <a16:creationId xmlns:a16="http://schemas.microsoft.com/office/drawing/2014/main" id="{BFBC719B-4180-41B9-A372-86DDA360F0EB}"/>
              </a:ext>
            </a:extLst>
          </p:cNvPr>
          <p:cNvSpPr/>
          <p:nvPr/>
        </p:nvSpPr>
        <p:spPr>
          <a:xfrm>
            <a:off x="0" y="5930889"/>
            <a:ext cx="12192000" cy="92711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Logo, company name&#10;&#10;Description automatically generated">
            <a:extLst>
              <a:ext uri="{FF2B5EF4-FFF2-40B4-BE49-F238E27FC236}">
                <a16:creationId xmlns:a16="http://schemas.microsoft.com/office/drawing/2014/main" id="{FDCD2860-2711-43BE-A373-72994B31EE18}"/>
              </a:ext>
            </a:extLst>
          </p:cNvPr>
          <p:cNvPicPr>
            <a:picLocks noChangeAspect="1"/>
          </p:cNvPicPr>
          <p:nvPr/>
        </p:nvPicPr>
        <p:blipFill rotWithShape="1">
          <a:blip r:embed="rId5">
            <a:alphaModFix/>
            <a:extLst>
              <a:ext uri="{28A0092B-C50C-407E-A947-70E740481C1C}">
                <a14:useLocalDpi xmlns:a14="http://schemas.microsoft.com/office/drawing/2010/main" val="0"/>
              </a:ext>
            </a:extLst>
          </a:blip>
          <a:srcRect t="32381" b="35415"/>
          <a:stretch/>
        </p:blipFill>
        <p:spPr>
          <a:xfrm>
            <a:off x="196395" y="5947590"/>
            <a:ext cx="2679344" cy="910410"/>
          </a:xfrm>
          <a:prstGeom prst="rect">
            <a:avLst/>
          </a:prstGeom>
        </p:spPr>
      </p:pic>
      <p:pic>
        <p:nvPicPr>
          <p:cNvPr id="9" name="Picture 8" descr="Logo, company name&#10;&#10;Description automatically generated">
            <a:extLst>
              <a:ext uri="{FF2B5EF4-FFF2-40B4-BE49-F238E27FC236}">
                <a16:creationId xmlns:a16="http://schemas.microsoft.com/office/drawing/2014/main" id="{9145CB29-185D-4274-BEDE-35D881EAF939}"/>
              </a:ext>
            </a:extLst>
          </p:cNvPr>
          <p:cNvPicPr>
            <a:picLocks noChangeAspect="1"/>
          </p:cNvPicPr>
          <p:nvPr/>
        </p:nvPicPr>
        <p:blipFill rotWithShape="1">
          <a:blip r:embed="rId6">
            <a:extLst>
              <a:ext uri="{28A0092B-C50C-407E-A947-70E740481C1C}">
                <a14:useLocalDpi xmlns:a14="http://schemas.microsoft.com/office/drawing/2010/main" val="0"/>
              </a:ext>
            </a:extLst>
          </a:blip>
          <a:srcRect l="13180" t="26802" r="2888" b="21523"/>
          <a:stretch/>
        </p:blipFill>
        <p:spPr>
          <a:xfrm>
            <a:off x="6334194" y="6114921"/>
            <a:ext cx="2578423" cy="710744"/>
          </a:xfrm>
          <a:prstGeom prst="rect">
            <a:avLst/>
          </a:prstGeom>
        </p:spPr>
      </p:pic>
      <p:sp>
        <p:nvSpPr>
          <p:cNvPr id="10" name="Rectangle 2">
            <a:extLst>
              <a:ext uri="{FF2B5EF4-FFF2-40B4-BE49-F238E27FC236}">
                <a16:creationId xmlns:a16="http://schemas.microsoft.com/office/drawing/2014/main" id="{F3A09949-927E-4B45-A852-3449A4F91E2D}"/>
              </a:ext>
            </a:extLst>
          </p:cNvPr>
          <p:cNvSpPr>
            <a:spLocks noChangeArrowheads="1"/>
          </p:cNvSpPr>
          <p:nvPr/>
        </p:nvSpPr>
        <p:spPr bwMode="auto">
          <a:xfrm>
            <a:off x="2756081" y="6424924"/>
            <a:ext cx="2450386" cy="3154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defTabSz="685800" eaLnBrk="0" fontAlgn="base" hangingPunct="0">
              <a:spcBef>
                <a:spcPct val="0"/>
              </a:spcBef>
              <a:spcAft>
                <a:spcPct val="0"/>
              </a:spcAft>
              <a:defRPr/>
            </a:pPr>
            <a:r>
              <a:rPr lang="en-US" altLang="en-US" sz="1600" i="1">
                <a:solidFill>
                  <a:srgbClr val="2E3558"/>
                </a:solidFill>
                <a:latin typeface="+mj-lt"/>
                <a:ea typeface="Times New Roman" panose="02020603050405020304" pitchFamily="18" charset="0"/>
                <a:cs typeface="Segoe UI"/>
              </a:rPr>
              <a:t>a partnership of</a:t>
            </a:r>
          </a:p>
        </p:txBody>
      </p:sp>
      <p:pic>
        <p:nvPicPr>
          <p:cNvPr id="3074" name="Picture 2" descr="UNICEF for every child">
            <a:extLst>
              <a:ext uri="{FF2B5EF4-FFF2-40B4-BE49-F238E27FC236}">
                <a16:creationId xmlns:a16="http://schemas.microsoft.com/office/drawing/2014/main" id="{923648EB-7916-4EC0-8DF1-00348343238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7999" t="17199" r="16130" b="17752"/>
          <a:stretch/>
        </p:blipFill>
        <p:spPr bwMode="auto">
          <a:xfrm>
            <a:off x="4610424" y="5949890"/>
            <a:ext cx="1415585" cy="933111"/>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BC82089D-9113-4770-BC30-43A88E3EFA65}"/>
              </a:ext>
            </a:extLst>
          </p:cNvPr>
          <p:cNvSpPr>
            <a:spLocks noGrp="1"/>
          </p:cNvSpPr>
          <p:nvPr>
            <p:ph type="sldNum" sz="quarter" idx="4294967295"/>
          </p:nvPr>
        </p:nvSpPr>
        <p:spPr/>
        <p:txBody>
          <a:bodyPr/>
          <a:lstStyle/>
          <a:p>
            <a:endParaRPr lang="en-US"/>
          </a:p>
        </p:txBody>
      </p:sp>
    </p:spTree>
    <p:extLst>
      <p:ext uri="{BB962C8B-B14F-4D97-AF65-F5344CB8AC3E}">
        <p14:creationId xmlns:p14="http://schemas.microsoft.com/office/powerpoint/2010/main" val="4834869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0CA7F8-FC40-4C8A-844D-EF9F6548138C}"/>
              </a:ext>
            </a:extLst>
          </p:cNvPr>
          <p:cNvPicPr>
            <a:picLocks noChangeAspect="1"/>
          </p:cNvPicPr>
          <p:nvPr/>
        </p:nvPicPr>
        <p:blipFill>
          <a:blip r:embed="rId3"/>
          <a:stretch>
            <a:fillRect/>
          </a:stretch>
        </p:blipFill>
        <p:spPr>
          <a:xfrm>
            <a:off x="397446" y="1025002"/>
            <a:ext cx="11143358" cy="5586443"/>
          </a:xfrm>
          <a:prstGeom prst="rect">
            <a:avLst/>
          </a:prstGeom>
        </p:spPr>
      </p:pic>
      <p:sp>
        <p:nvSpPr>
          <p:cNvPr id="4" name="Rectangle 3">
            <a:extLst>
              <a:ext uri="{FF2B5EF4-FFF2-40B4-BE49-F238E27FC236}">
                <a16:creationId xmlns:a16="http://schemas.microsoft.com/office/drawing/2014/main" id="{D585F84F-A586-4520-A64A-C7FAEB6B9A39}"/>
              </a:ext>
            </a:extLst>
          </p:cNvPr>
          <p:cNvSpPr/>
          <p:nvPr/>
        </p:nvSpPr>
        <p:spPr>
          <a:xfrm>
            <a:off x="157656" y="3573955"/>
            <a:ext cx="945930" cy="704194"/>
          </a:xfrm>
          <a:prstGeom prst="rect">
            <a:avLst/>
          </a:prstGeom>
          <a:noFill/>
          <a:ln w="19050" cap="rnd" cmpd="sng" algn="ctr">
            <a:solidFill>
              <a:srgbClr val="C0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rgbClr val="FFFFFF"/>
              </a:solidFill>
            </a:endParaRPr>
          </a:p>
        </p:txBody>
      </p:sp>
      <p:sp>
        <p:nvSpPr>
          <p:cNvPr id="5" name="TextBox 4">
            <a:extLst>
              <a:ext uri="{FF2B5EF4-FFF2-40B4-BE49-F238E27FC236}">
                <a16:creationId xmlns:a16="http://schemas.microsoft.com/office/drawing/2014/main" id="{420DFACA-58E7-44CE-BC5A-293CFB816664}"/>
              </a:ext>
            </a:extLst>
          </p:cNvPr>
          <p:cNvSpPr txBox="1"/>
          <p:nvPr/>
        </p:nvSpPr>
        <p:spPr>
          <a:xfrm>
            <a:off x="1240219" y="3594976"/>
            <a:ext cx="3121573" cy="430925"/>
          </a:xfrm>
          <a:prstGeom prst="leftArrow">
            <a:avLst/>
          </a:prstGeom>
          <a:solidFill>
            <a:srgbClr val="FFC000"/>
          </a:solidFill>
          <a:ln w="9525" cap="rnd">
            <a:solidFill>
              <a:srgbClr val="FF0000"/>
            </a:solid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i="1">
                <a:solidFill>
                  <a:schemeClr val="bg1"/>
                </a:solidFill>
              </a:rPr>
              <a:t>Integration within MSFT Teams</a:t>
            </a:r>
          </a:p>
        </p:txBody>
      </p:sp>
      <p:sp>
        <p:nvSpPr>
          <p:cNvPr id="6" name="Rectangle 5">
            <a:extLst>
              <a:ext uri="{FF2B5EF4-FFF2-40B4-BE49-F238E27FC236}">
                <a16:creationId xmlns:a16="http://schemas.microsoft.com/office/drawing/2014/main" id="{AD0E6AFD-E9BC-447E-8170-42C8859525E8}"/>
              </a:ext>
            </a:extLst>
          </p:cNvPr>
          <p:cNvSpPr/>
          <p:nvPr/>
        </p:nvSpPr>
        <p:spPr>
          <a:xfrm>
            <a:off x="157656" y="1640052"/>
            <a:ext cx="945930" cy="451946"/>
          </a:xfrm>
          <a:prstGeom prst="rect">
            <a:avLst/>
          </a:prstGeom>
          <a:noFill/>
          <a:ln w="19050" cap="rnd" cmpd="sng" algn="ctr">
            <a:solidFill>
              <a:srgbClr val="C0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rgbClr val="FFFFFF"/>
              </a:solidFill>
            </a:endParaRPr>
          </a:p>
        </p:txBody>
      </p:sp>
      <p:sp>
        <p:nvSpPr>
          <p:cNvPr id="7" name="Rectangle 6">
            <a:extLst>
              <a:ext uri="{FF2B5EF4-FFF2-40B4-BE49-F238E27FC236}">
                <a16:creationId xmlns:a16="http://schemas.microsoft.com/office/drawing/2014/main" id="{F3D91253-956C-4281-BD64-C3F375BC2B84}"/>
              </a:ext>
            </a:extLst>
          </p:cNvPr>
          <p:cNvSpPr/>
          <p:nvPr/>
        </p:nvSpPr>
        <p:spPr>
          <a:xfrm>
            <a:off x="178231" y="2859252"/>
            <a:ext cx="945930" cy="451946"/>
          </a:xfrm>
          <a:prstGeom prst="rect">
            <a:avLst/>
          </a:prstGeom>
          <a:noFill/>
          <a:ln w="19050" cap="rnd" cmpd="sng" algn="ctr">
            <a:solidFill>
              <a:srgbClr val="C0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rgbClr val="FFFFFF"/>
              </a:solidFill>
            </a:endParaRPr>
          </a:p>
        </p:txBody>
      </p:sp>
      <p:cxnSp>
        <p:nvCxnSpPr>
          <p:cNvPr id="9" name="Straight Arrow Connector 8">
            <a:extLst>
              <a:ext uri="{FF2B5EF4-FFF2-40B4-BE49-F238E27FC236}">
                <a16:creationId xmlns:a16="http://schemas.microsoft.com/office/drawing/2014/main" id="{58C90C3C-413B-4601-B0A2-7F33637E0845}"/>
              </a:ext>
            </a:extLst>
          </p:cNvPr>
          <p:cNvCxnSpPr>
            <a:cxnSpLocks/>
          </p:cNvCxnSpPr>
          <p:nvPr/>
        </p:nvCxnSpPr>
        <p:spPr>
          <a:xfrm>
            <a:off x="1240219" y="1923831"/>
            <a:ext cx="525519" cy="157655"/>
          </a:xfrm>
          <a:prstGeom prst="straightConnector1">
            <a:avLst/>
          </a:prstGeom>
          <a:ln w="1905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690FDDA-7998-4FD3-85AA-CDD0F8A109D5}"/>
              </a:ext>
            </a:extLst>
          </p:cNvPr>
          <p:cNvCxnSpPr>
            <a:cxnSpLocks/>
          </p:cNvCxnSpPr>
          <p:nvPr/>
        </p:nvCxnSpPr>
        <p:spPr>
          <a:xfrm flipV="1">
            <a:off x="1124161" y="2134039"/>
            <a:ext cx="641577" cy="977463"/>
          </a:xfrm>
          <a:prstGeom prst="straightConnector1">
            <a:avLst/>
          </a:prstGeom>
          <a:ln w="1905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055BD87-A28F-4AF7-89EB-B64B312CD851}"/>
              </a:ext>
            </a:extLst>
          </p:cNvPr>
          <p:cNvSpPr txBox="1"/>
          <p:nvPr/>
        </p:nvSpPr>
        <p:spPr>
          <a:xfrm>
            <a:off x="1765738" y="1640052"/>
            <a:ext cx="3121573" cy="798028"/>
          </a:xfrm>
          <a:prstGeom prst="leftArrow">
            <a:avLst/>
          </a:prstGeom>
          <a:solidFill>
            <a:srgbClr val="FFC000"/>
          </a:solidFill>
          <a:ln w="9525" cap="rnd">
            <a:solidFill>
              <a:srgbClr val="FF0000"/>
            </a:solid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i="1" dirty="0">
                <a:solidFill>
                  <a:schemeClr val="bg1"/>
                </a:solidFill>
              </a:rPr>
              <a:t>Chat and Call functionality available to all users</a:t>
            </a:r>
          </a:p>
        </p:txBody>
      </p:sp>
      <p:sp>
        <p:nvSpPr>
          <p:cNvPr id="15" name="Rectangle 14">
            <a:extLst>
              <a:ext uri="{FF2B5EF4-FFF2-40B4-BE49-F238E27FC236}">
                <a16:creationId xmlns:a16="http://schemas.microsoft.com/office/drawing/2014/main" id="{B4C5205B-E86D-4FB2-923F-694A1B51B8E1}"/>
              </a:ext>
            </a:extLst>
          </p:cNvPr>
          <p:cNvSpPr/>
          <p:nvPr/>
        </p:nvSpPr>
        <p:spPr>
          <a:xfrm>
            <a:off x="2801004" y="2375776"/>
            <a:ext cx="1087823" cy="346842"/>
          </a:xfrm>
          <a:prstGeom prst="rect">
            <a:avLst/>
          </a:prstGeom>
          <a:noFill/>
          <a:ln w="19050" cap="rnd" cmpd="sng" algn="ctr">
            <a:solidFill>
              <a:srgbClr val="C0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rgbClr val="FFFFFF"/>
              </a:solidFill>
            </a:endParaRPr>
          </a:p>
        </p:txBody>
      </p:sp>
      <p:sp>
        <p:nvSpPr>
          <p:cNvPr id="18" name="TextBox 17">
            <a:extLst>
              <a:ext uri="{FF2B5EF4-FFF2-40B4-BE49-F238E27FC236}">
                <a16:creationId xmlns:a16="http://schemas.microsoft.com/office/drawing/2014/main" id="{6C64CCC9-8738-480F-AAAC-D0860F3D24AF}"/>
              </a:ext>
            </a:extLst>
          </p:cNvPr>
          <p:cNvSpPr txBox="1"/>
          <p:nvPr/>
        </p:nvSpPr>
        <p:spPr>
          <a:xfrm>
            <a:off x="3968101" y="2291693"/>
            <a:ext cx="3121573" cy="430925"/>
          </a:xfrm>
          <a:prstGeom prst="leftArrow">
            <a:avLst/>
          </a:prstGeom>
          <a:solidFill>
            <a:srgbClr val="FFC000"/>
          </a:solidFill>
          <a:ln w="9525" cap="rnd">
            <a:solidFill>
              <a:srgbClr val="FF0000"/>
            </a:solid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i="1">
                <a:solidFill>
                  <a:schemeClr val="bg1"/>
                </a:solidFill>
              </a:rPr>
              <a:t>All courses visible to all users</a:t>
            </a:r>
          </a:p>
        </p:txBody>
      </p:sp>
      <p:sp>
        <p:nvSpPr>
          <p:cNvPr id="14" name="Title 1">
            <a:extLst>
              <a:ext uri="{FF2B5EF4-FFF2-40B4-BE49-F238E27FC236}">
                <a16:creationId xmlns:a16="http://schemas.microsoft.com/office/drawing/2014/main" id="{D4F3E823-DA34-42AE-B75A-6B3276E3204F}"/>
              </a:ext>
            </a:extLst>
          </p:cNvPr>
          <p:cNvSpPr txBox="1">
            <a:spLocks/>
          </p:cNvSpPr>
          <p:nvPr/>
        </p:nvSpPr>
        <p:spPr>
          <a:xfrm>
            <a:off x="0" y="-8079"/>
            <a:ext cx="12192000" cy="817377"/>
          </a:xfrm>
          <a:prstGeom prst="rect">
            <a:avLst/>
          </a:prstGeom>
          <a:solidFill>
            <a:srgbClr val="00A4E1"/>
          </a:solidFill>
        </p:spPr>
        <p:txBody>
          <a:bodyPr anchor="ct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a:lstStyle>
          <a:p>
            <a:pPr marL="342900">
              <a:lnSpc>
                <a:spcPct val="100000"/>
              </a:lnSpc>
            </a:pPr>
            <a:endParaRPr lang="en-US" sz="500" b="1">
              <a:solidFill>
                <a:schemeClr val="bg1"/>
              </a:solidFill>
            </a:endParaRPr>
          </a:p>
          <a:p>
            <a:pPr marL="342900">
              <a:lnSpc>
                <a:spcPct val="100000"/>
              </a:lnSpc>
            </a:pPr>
            <a:r>
              <a:rPr lang="en-US" b="1">
                <a:solidFill>
                  <a:schemeClr val="bg1"/>
                </a:solidFill>
              </a:rPr>
              <a:t>Learning Passport in Kosovo – Integration with Microsoft Teams</a:t>
            </a:r>
          </a:p>
        </p:txBody>
      </p:sp>
    </p:spTree>
    <p:extLst>
      <p:ext uri="{BB962C8B-B14F-4D97-AF65-F5344CB8AC3E}">
        <p14:creationId xmlns:p14="http://schemas.microsoft.com/office/powerpoint/2010/main" val="3099839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5263D84-D62C-4435-8E92-8B43AFE103E6}"/>
              </a:ext>
            </a:extLst>
          </p:cNvPr>
          <p:cNvSpPr>
            <a:spLocks noGrp="1"/>
          </p:cNvSpPr>
          <p:nvPr>
            <p:ph type="title"/>
          </p:nvPr>
        </p:nvSpPr>
        <p:spPr>
          <a:xfrm>
            <a:off x="271673" y="1619951"/>
            <a:ext cx="3540167" cy="3618097"/>
          </a:xfrm>
        </p:spPr>
        <p:txBody>
          <a:bodyPr/>
          <a:lstStyle/>
          <a:p>
            <a:r>
              <a:rPr lang="en-US" sz="3200" b="1"/>
              <a:t>Offline Learning </a:t>
            </a:r>
            <a:br>
              <a:rPr lang="en-US" sz="3600"/>
            </a:br>
            <a:br>
              <a:rPr lang="en-US" sz="3600"/>
            </a:br>
            <a:r>
              <a:rPr lang="en-US" sz="2000"/>
              <a:t>The Learning Passport’s Offline Model enables learners and teachers to continue their education in </a:t>
            </a:r>
            <a:r>
              <a:rPr lang="en-US" sz="2000" b="1"/>
              <a:t>low to no connectivity areas</a:t>
            </a:r>
            <a:r>
              <a:rPr lang="en-US" sz="2000"/>
              <a:t>, helping to </a:t>
            </a:r>
            <a:r>
              <a:rPr lang="en-US" sz="2000" b="1"/>
              <a:t>bridge the digital learning gap</a:t>
            </a:r>
            <a:r>
              <a:rPr lang="en-US" sz="2000"/>
              <a:t>. </a:t>
            </a:r>
            <a:br>
              <a:rPr lang="en-US" sz="2000"/>
            </a:br>
            <a:br>
              <a:rPr lang="en-US" sz="2000"/>
            </a:br>
            <a:r>
              <a:rPr lang="en-US" sz="2000"/>
              <a:t>The offline model </a:t>
            </a:r>
            <a:r>
              <a:rPr lang="en-US" sz="2000" err="1"/>
              <a:t>utilises</a:t>
            </a:r>
            <a:r>
              <a:rPr lang="en-US" sz="2000"/>
              <a:t> </a:t>
            </a:r>
            <a:r>
              <a:rPr lang="en-US" sz="2000" b="1"/>
              <a:t>two concepts </a:t>
            </a:r>
            <a:r>
              <a:rPr lang="en-US" sz="2000"/>
              <a:t>to provide digital learning experiences in areas without connectivity.</a:t>
            </a:r>
            <a:br>
              <a:rPr lang="en-US"/>
            </a:br>
            <a:endParaRPr lang="en-US" sz="3600"/>
          </a:p>
        </p:txBody>
      </p:sp>
      <p:sp>
        <p:nvSpPr>
          <p:cNvPr id="11" name="Rectangle 10">
            <a:extLst>
              <a:ext uri="{FF2B5EF4-FFF2-40B4-BE49-F238E27FC236}">
                <a16:creationId xmlns:a16="http://schemas.microsoft.com/office/drawing/2014/main" id="{0A662CA3-4694-4559-A44D-641BFDF9D21F}"/>
              </a:ext>
            </a:extLst>
          </p:cNvPr>
          <p:cNvSpPr/>
          <p:nvPr/>
        </p:nvSpPr>
        <p:spPr>
          <a:xfrm>
            <a:off x="4281715" y="223660"/>
            <a:ext cx="7910285" cy="1954381"/>
          </a:xfrm>
          <a:prstGeom prst="rect">
            <a:avLst/>
          </a:prstGeom>
        </p:spPr>
        <p:txBody>
          <a:bodyPr wrap="square">
            <a:spAutoFit/>
          </a:bodyPr>
          <a:lstStyle/>
          <a:p>
            <a:pPr>
              <a:lnSpc>
                <a:spcPct val="150000"/>
              </a:lnSpc>
              <a:spcBef>
                <a:spcPct val="0"/>
              </a:spcBef>
            </a:pPr>
            <a:r>
              <a:rPr lang="en-US" sz="2400" b="1">
                <a:solidFill>
                  <a:srgbClr val="00A4E1"/>
                </a:solidFill>
              </a:rPr>
              <a:t>1) Hub/Learner Device Concept</a:t>
            </a:r>
          </a:p>
          <a:p>
            <a:pPr>
              <a:spcBef>
                <a:spcPct val="0"/>
              </a:spcBef>
            </a:pPr>
            <a:r>
              <a:rPr lang="en-US" sz="2000">
                <a:solidFill>
                  <a:srgbClr val="00A4E1"/>
                </a:solidFill>
              </a:rPr>
              <a:t>A hub device located in an offline classroom serves as a </a:t>
            </a:r>
          </a:p>
          <a:p>
            <a:pPr>
              <a:spcBef>
                <a:spcPct val="0"/>
              </a:spcBef>
            </a:pPr>
            <a:r>
              <a:rPr lang="en-US" sz="2000" b="1">
                <a:solidFill>
                  <a:srgbClr val="00A4E1"/>
                </a:solidFill>
              </a:rPr>
              <a:t>1) Server </a:t>
            </a:r>
            <a:r>
              <a:rPr lang="en-US" sz="2000">
                <a:solidFill>
                  <a:srgbClr val="00A4E1"/>
                </a:solidFill>
              </a:rPr>
              <a:t>and </a:t>
            </a:r>
            <a:r>
              <a:rPr lang="en-US" sz="2000" b="1">
                <a:solidFill>
                  <a:srgbClr val="00A4E1"/>
                </a:solidFill>
              </a:rPr>
              <a:t>2) Local Area Network </a:t>
            </a:r>
            <a:r>
              <a:rPr lang="en-US" sz="2000">
                <a:solidFill>
                  <a:srgbClr val="00A4E1"/>
                </a:solidFill>
              </a:rPr>
              <a:t>(LAN)  </a:t>
            </a:r>
          </a:p>
          <a:p>
            <a:pPr>
              <a:spcBef>
                <a:spcPct val="0"/>
              </a:spcBef>
            </a:pPr>
            <a:endParaRPr lang="en-US" sz="500">
              <a:solidFill>
                <a:srgbClr val="00A4E1"/>
              </a:solidFill>
            </a:endParaRPr>
          </a:p>
          <a:p>
            <a:pPr>
              <a:spcBef>
                <a:spcPct val="0"/>
              </a:spcBef>
            </a:pPr>
            <a:r>
              <a:rPr lang="en-US" sz="2000">
                <a:solidFill>
                  <a:srgbClr val="00A4E1"/>
                </a:solidFill>
              </a:rPr>
              <a:t>Learners will be able to connect their devices such as phones or tablets to the hub device via a web browser on their device.</a:t>
            </a:r>
          </a:p>
        </p:txBody>
      </p:sp>
      <p:pic>
        <p:nvPicPr>
          <p:cNvPr id="182274" name="Picture 2" descr="Hub device with learners' devices infographic">
            <a:extLst>
              <a:ext uri="{FF2B5EF4-FFF2-40B4-BE49-F238E27FC236}">
                <a16:creationId xmlns:a16="http://schemas.microsoft.com/office/drawing/2014/main" id="{53078E60-E3F6-4373-8D3D-B96CDB826C8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9993"/>
          <a:stretch/>
        </p:blipFill>
        <p:spPr bwMode="auto">
          <a:xfrm>
            <a:off x="4708088" y="2368541"/>
            <a:ext cx="7057537" cy="45246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43201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5263D84-D62C-4435-8E92-8B43AFE103E6}"/>
              </a:ext>
            </a:extLst>
          </p:cNvPr>
          <p:cNvSpPr>
            <a:spLocks noGrp="1"/>
          </p:cNvSpPr>
          <p:nvPr>
            <p:ph type="title"/>
          </p:nvPr>
        </p:nvSpPr>
        <p:spPr>
          <a:xfrm>
            <a:off x="244929" y="0"/>
            <a:ext cx="3655811" cy="5238049"/>
          </a:xfrm>
        </p:spPr>
        <p:txBody>
          <a:bodyPr/>
          <a:lstStyle/>
          <a:p>
            <a:r>
              <a:rPr lang="en-US" b="1"/>
              <a:t>2) </a:t>
            </a:r>
            <a:r>
              <a:rPr lang="en-US" b="1" err="1"/>
              <a:t>Sneakernet</a:t>
            </a:r>
            <a:r>
              <a:rPr lang="en-US" b="1"/>
              <a:t> Concept</a:t>
            </a:r>
            <a:br>
              <a:rPr lang="en-US" sz="2800" b="1"/>
            </a:br>
            <a:br>
              <a:rPr lang="en-US"/>
            </a:br>
            <a:r>
              <a:rPr lang="en-US" sz="2000"/>
              <a:t>The </a:t>
            </a:r>
            <a:r>
              <a:rPr lang="en-US" sz="2000" b="1"/>
              <a:t>hub device will be intermittently synced</a:t>
            </a:r>
            <a:r>
              <a:rPr lang="en-US" sz="2000"/>
              <a:t> to download new content and upload learners’ record through the physical </a:t>
            </a:r>
            <a:r>
              <a:rPr lang="en-US" sz="2000" b="1"/>
              <a:t>transport of data on storage devices.</a:t>
            </a:r>
            <a:br>
              <a:rPr lang="en-US" sz="2000"/>
            </a:br>
            <a:br>
              <a:rPr lang="en-US" sz="2000"/>
            </a:br>
            <a:r>
              <a:rPr lang="en-US" sz="2000"/>
              <a:t>Data from portable storage devices will then be </a:t>
            </a:r>
            <a:r>
              <a:rPr lang="en-US" sz="2000" b="1"/>
              <a:t>synced to an online database </a:t>
            </a:r>
            <a:r>
              <a:rPr lang="en-US" sz="2000"/>
              <a:t>at connectivity points.</a:t>
            </a:r>
            <a:endParaRPr lang="en-US"/>
          </a:p>
        </p:txBody>
      </p:sp>
      <p:pic>
        <p:nvPicPr>
          <p:cNvPr id="181252" name="Picture 4" descr="Sneakernet Concept Infographic">
            <a:extLst>
              <a:ext uri="{FF2B5EF4-FFF2-40B4-BE49-F238E27FC236}">
                <a16:creationId xmlns:a16="http://schemas.microsoft.com/office/drawing/2014/main" id="{0F0A4DE4-2650-4BA8-9CFE-78792137CE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6440" y="564243"/>
            <a:ext cx="8405560" cy="59871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2975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38B8E167-5800-4E58-ACD8-3E3D1BCA1480}"/>
              </a:ext>
            </a:extLst>
          </p:cNvPr>
          <p:cNvSpPr txBox="1"/>
          <p:nvPr/>
        </p:nvSpPr>
        <p:spPr>
          <a:xfrm>
            <a:off x="6384322" y="2845681"/>
            <a:ext cx="5036983" cy="67710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SzPct val="100000"/>
              <a:buFont typeface="Trebuchet MS" panose="020B0603020202020204" pitchFamily="34" charset="0"/>
              <a:buChar char="​"/>
            </a:pPr>
            <a:r>
              <a:rPr lang="en-US" sz="2200">
                <a:solidFill>
                  <a:schemeClr val="tx1"/>
                </a:solidFill>
                <a:latin typeface="Arial" panose="020B0604020202020204" pitchFamily="34" charset="0"/>
              </a:rPr>
              <a:t>Access to UNICEF’s perpetual use license for the Learning Passport</a:t>
            </a:r>
          </a:p>
        </p:txBody>
      </p:sp>
      <p:sp>
        <p:nvSpPr>
          <p:cNvPr id="19" name="TextBox 18">
            <a:extLst>
              <a:ext uri="{FF2B5EF4-FFF2-40B4-BE49-F238E27FC236}">
                <a16:creationId xmlns:a16="http://schemas.microsoft.com/office/drawing/2014/main" id="{CF3A9B94-D8FF-42A3-AF5C-77FDE0376A02}"/>
              </a:ext>
            </a:extLst>
          </p:cNvPr>
          <p:cNvSpPr txBox="1"/>
          <p:nvPr/>
        </p:nvSpPr>
        <p:spPr>
          <a:xfrm>
            <a:off x="6384323" y="4273807"/>
            <a:ext cx="5036983" cy="67710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SzPct val="100000"/>
              <a:buFont typeface="Trebuchet MS" panose="020B0603020202020204" pitchFamily="34" charset="0"/>
              <a:buChar char="​"/>
            </a:pPr>
            <a:r>
              <a:rPr lang="en-US" sz="2200">
                <a:solidFill>
                  <a:schemeClr val="tx1"/>
                </a:solidFill>
                <a:latin typeface="Arial" panose="020B0604020202020204" pitchFamily="34" charset="0"/>
              </a:rPr>
              <a:t>Platform hosting and maintenance, and engineering support </a:t>
            </a:r>
          </a:p>
        </p:txBody>
      </p:sp>
      <p:sp>
        <p:nvSpPr>
          <p:cNvPr id="25" name="Oval 24">
            <a:extLst>
              <a:ext uri="{FF2B5EF4-FFF2-40B4-BE49-F238E27FC236}">
                <a16:creationId xmlns:a16="http://schemas.microsoft.com/office/drawing/2014/main" id="{52951142-782C-424D-A290-D0691DF113C9}"/>
              </a:ext>
            </a:extLst>
          </p:cNvPr>
          <p:cNvSpPr>
            <a:spLocks/>
          </p:cNvSpPr>
          <p:nvPr/>
        </p:nvSpPr>
        <p:spPr>
          <a:xfrm>
            <a:off x="4911028" y="3996001"/>
            <a:ext cx="1232719" cy="1232719"/>
          </a:xfrm>
          <a:prstGeom prst="ellipse">
            <a:avLst/>
          </a:prstGeom>
          <a:solidFill>
            <a:srgbClr val="FFFFFF"/>
          </a:solidFill>
          <a:ln w="38100">
            <a:gradFill flip="none" rotWithShape="1">
              <a:gsLst>
                <a:gs pos="0">
                  <a:srgbClr val="0082B0"/>
                </a:gs>
                <a:gs pos="100000">
                  <a:srgbClr val="00AEEF"/>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kern="0">
              <a:solidFill>
                <a:srgbClr val="77777A"/>
              </a:solidFill>
              <a:cs typeface="Arial"/>
            </a:endParaRPr>
          </a:p>
        </p:txBody>
      </p:sp>
      <p:grpSp>
        <p:nvGrpSpPr>
          <p:cNvPr id="26" name="bcgIcons_Technologies">
            <a:extLst>
              <a:ext uri="{FF2B5EF4-FFF2-40B4-BE49-F238E27FC236}">
                <a16:creationId xmlns:a16="http://schemas.microsoft.com/office/drawing/2014/main" id="{5CA859A0-536B-4FB0-B994-ABBDA29BB5EC}"/>
              </a:ext>
            </a:extLst>
          </p:cNvPr>
          <p:cNvGrpSpPr>
            <a:grpSpLocks noChangeAspect="1"/>
          </p:cNvGrpSpPr>
          <p:nvPr/>
        </p:nvGrpSpPr>
        <p:grpSpPr bwMode="auto">
          <a:xfrm>
            <a:off x="5069746" y="4144645"/>
            <a:ext cx="913554" cy="914400"/>
            <a:chOff x="1682" y="0"/>
            <a:chExt cx="4316" cy="4320"/>
          </a:xfrm>
        </p:grpSpPr>
        <p:sp>
          <p:nvSpPr>
            <p:cNvPr id="27" name="AutoShape 3">
              <a:extLst>
                <a:ext uri="{FF2B5EF4-FFF2-40B4-BE49-F238E27FC236}">
                  <a16:creationId xmlns:a16="http://schemas.microsoft.com/office/drawing/2014/main" id="{34175E4E-9C80-44DF-A98C-881F02C434D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5">
              <a:extLst>
                <a:ext uri="{FF2B5EF4-FFF2-40B4-BE49-F238E27FC236}">
                  <a16:creationId xmlns:a16="http://schemas.microsoft.com/office/drawing/2014/main" id="{4F6A972F-9871-4C00-9418-452FC5E4A287}"/>
                </a:ext>
              </a:extLst>
            </p:cNvPr>
            <p:cNvSpPr>
              <a:spLocks noEditPoints="1"/>
            </p:cNvSpPr>
            <p:nvPr/>
          </p:nvSpPr>
          <p:spPr bwMode="auto">
            <a:xfrm>
              <a:off x="2147" y="463"/>
              <a:ext cx="3386" cy="3390"/>
            </a:xfrm>
            <a:custGeom>
              <a:avLst/>
              <a:gdLst>
                <a:gd name="T0" fmla="*/ 280 w 1808"/>
                <a:gd name="T1" fmla="*/ 1550 h 1808"/>
                <a:gd name="T2" fmla="*/ 258 w 1808"/>
                <a:gd name="T3" fmla="*/ 280 h 1808"/>
                <a:gd name="T4" fmla="*/ 1528 w 1808"/>
                <a:gd name="T5" fmla="*/ 258 h 1808"/>
                <a:gd name="T6" fmla="*/ 1550 w 1808"/>
                <a:gd name="T7" fmla="*/ 1528 h 1808"/>
                <a:gd name="T8" fmla="*/ 302 w 1808"/>
                <a:gd name="T9" fmla="*/ 1506 h 1808"/>
                <a:gd name="T10" fmla="*/ 1506 w 1808"/>
                <a:gd name="T11" fmla="*/ 302 h 1808"/>
                <a:gd name="T12" fmla="*/ 302 w 1808"/>
                <a:gd name="T13" fmla="*/ 1506 h 1808"/>
                <a:gd name="T14" fmla="*/ 550 w 1808"/>
                <a:gd name="T15" fmla="*/ 22 h 1808"/>
                <a:gd name="T16" fmla="*/ 506 w 1808"/>
                <a:gd name="T17" fmla="*/ 22 h 1808"/>
                <a:gd name="T18" fmla="*/ 528 w 1808"/>
                <a:gd name="T19" fmla="*/ 202 h 1808"/>
                <a:gd name="T20" fmla="*/ 801 w 1808"/>
                <a:gd name="T21" fmla="*/ 180 h 1808"/>
                <a:gd name="T22" fmla="*/ 779 w 1808"/>
                <a:gd name="T23" fmla="*/ 0 h 1808"/>
                <a:gd name="T24" fmla="*/ 757 w 1808"/>
                <a:gd name="T25" fmla="*/ 180 h 1808"/>
                <a:gd name="T26" fmla="*/ 801 w 1808"/>
                <a:gd name="T27" fmla="*/ 180 h 1808"/>
                <a:gd name="T28" fmla="*/ 1051 w 1808"/>
                <a:gd name="T29" fmla="*/ 22 h 1808"/>
                <a:gd name="T30" fmla="*/ 1007 w 1808"/>
                <a:gd name="T31" fmla="*/ 22 h 1808"/>
                <a:gd name="T32" fmla="*/ 1029 w 1808"/>
                <a:gd name="T33" fmla="*/ 202 h 1808"/>
                <a:gd name="T34" fmla="*/ 1302 w 1808"/>
                <a:gd name="T35" fmla="*/ 180 h 1808"/>
                <a:gd name="T36" fmla="*/ 1280 w 1808"/>
                <a:gd name="T37" fmla="*/ 0 h 1808"/>
                <a:gd name="T38" fmla="*/ 1258 w 1808"/>
                <a:gd name="T39" fmla="*/ 180 h 1808"/>
                <a:gd name="T40" fmla="*/ 1302 w 1808"/>
                <a:gd name="T41" fmla="*/ 180 h 1808"/>
                <a:gd name="T42" fmla="*/ 550 w 1808"/>
                <a:gd name="T43" fmla="*/ 1628 h 1808"/>
                <a:gd name="T44" fmla="*/ 506 w 1808"/>
                <a:gd name="T45" fmla="*/ 1628 h 1808"/>
                <a:gd name="T46" fmla="*/ 528 w 1808"/>
                <a:gd name="T47" fmla="*/ 1808 h 1808"/>
                <a:gd name="T48" fmla="*/ 801 w 1808"/>
                <a:gd name="T49" fmla="*/ 1786 h 1808"/>
                <a:gd name="T50" fmla="*/ 779 w 1808"/>
                <a:gd name="T51" fmla="*/ 1606 h 1808"/>
                <a:gd name="T52" fmla="*/ 757 w 1808"/>
                <a:gd name="T53" fmla="*/ 1786 h 1808"/>
                <a:gd name="T54" fmla="*/ 801 w 1808"/>
                <a:gd name="T55" fmla="*/ 1786 h 1808"/>
                <a:gd name="T56" fmla="*/ 1051 w 1808"/>
                <a:gd name="T57" fmla="*/ 1628 h 1808"/>
                <a:gd name="T58" fmla="*/ 1007 w 1808"/>
                <a:gd name="T59" fmla="*/ 1628 h 1808"/>
                <a:gd name="T60" fmla="*/ 1029 w 1808"/>
                <a:gd name="T61" fmla="*/ 1808 h 1808"/>
                <a:gd name="T62" fmla="*/ 1302 w 1808"/>
                <a:gd name="T63" fmla="*/ 1786 h 1808"/>
                <a:gd name="T64" fmla="*/ 1280 w 1808"/>
                <a:gd name="T65" fmla="*/ 1606 h 1808"/>
                <a:gd name="T66" fmla="*/ 1258 w 1808"/>
                <a:gd name="T67" fmla="*/ 1786 h 1808"/>
                <a:gd name="T68" fmla="*/ 1302 w 1808"/>
                <a:gd name="T69" fmla="*/ 1786 h 1808"/>
                <a:gd name="T70" fmla="*/ 1786 w 1808"/>
                <a:gd name="T71" fmla="*/ 506 h 1808"/>
                <a:gd name="T72" fmla="*/ 1606 w 1808"/>
                <a:gd name="T73" fmla="*/ 528 h 1808"/>
                <a:gd name="T74" fmla="*/ 1786 w 1808"/>
                <a:gd name="T75" fmla="*/ 550 h 1808"/>
                <a:gd name="T76" fmla="*/ 1808 w 1808"/>
                <a:gd name="T77" fmla="*/ 779 h 1808"/>
                <a:gd name="T78" fmla="*/ 1628 w 1808"/>
                <a:gd name="T79" fmla="*/ 757 h 1808"/>
                <a:gd name="T80" fmla="*/ 1628 w 1808"/>
                <a:gd name="T81" fmla="*/ 801 h 1808"/>
                <a:gd name="T82" fmla="*/ 1808 w 1808"/>
                <a:gd name="T83" fmla="*/ 779 h 1808"/>
                <a:gd name="T84" fmla="*/ 1786 w 1808"/>
                <a:gd name="T85" fmla="*/ 1007 h 1808"/>
                <a:gd name="T86" fmla="*/ 1606 w 1808"/>
                <a:gd name="T87" fmla="*/ 1029 h 1808"/>
                <a:gd name="T88" fmla="*/ 1786 w 1808"/>
                <a:gd name="T89" fmla="*/ 1051 h 1808"/>
                <a:gd name="T90" fmla="*/ 1808 w 1808"/>
                <a:gd name="T91" fmla="*/ 1280 h 1808"/>
                <a:gd name="T92" fmla="*/ 1628 w 1808"/>
                <a:gd name="T93" fmla="*/ 1258 h 1808"/>
                <a:gd name="T94" fmla="*/ 1628 w 1808"/>
                <a:gd name="T95" fmla="*/ 1302 h 1808"/>
                <a:gd name="T96" fmla="*/ 1808 w 1808"/>
                <a:gd name="T97" fmla="*/ 1280 h 1808"/>
                <a:gd name="T98" fmla="*/ 180 w 1808"/>
                <a:gd name="T99" fmla="*/ 506 h 1808"/>
                <a:gd name="T100" fmla="*/ 0 w 1808"/>
                <a:gd name="T101" fmla="*/ 528 h 1808"/>
                <a:gd name="T102" fmla="*/ 180 w 1808"/>
                <a:gd name="T103" fmla="*/ 550 h 1808"/>
                <a:gd name="T104" fmla="*/ 202 w 1808"/>
                <a:gd name="T105" fmla="*/ 779 h 1808"/>
                <a:gd name="T106" fmla="*/ 22 w 1808"/>
                <a:gd name="T107" fmla="*/ 757 h 1808"/>
                <a:gd name="T108" fmla="*/ 22 w 1808"/>
                <a:gd name="T109" fmla="*/ 801 h 1808"/>
                <a:gd name="T110" fmla="*/ 202 w 1808"/>
                <a:gd name="T111" fmla="*/ 779 h 1808"/>
                <a:gd name="T112" fmla="*/ 180 w 1808"/>
                <a:gd name="T113" fmla="*/ 1007 h 1808"/>
                <a:gd name="T114" fmla="*/ 0 w 1808"/>
                <a:gd name="T115" fmla="*/ 1029 h 1808"/>
                <a:gd name="T116" fmla="*/ 180 w 1808"/>
                <a:gd name="T117" fmla="*/ 1051 h 1808"/>
                <a:gd name="T118" fmla="*/ 202 w 1808"/>
                <a:gd name="T119" fmla="*/ 1280 h 1808"/>
                <a:gd name="T120" fmla="*/ 22 w 1808"/>
                <a:gd name="T121" fmla="*/ 1258 h 1808"/>
                <a:gd name="T122" fmla="*/ 22 w 1808"/>
                <a:gd name="T123" fmla="*/ 1302 h 1808"/>
                <a:gd name="T124" fmla="*/ 202 w 1808"/>
                <a:gd name="T125" fmla="*/ 1280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1808">
                  <a:moveTo>
                    <a:pt x="1528" y="1550"/>
                  </a:moveTo>
                  <a:cubicBezTo>
                    <a:pt x="280" y="1550"/>
                    <a:pt x="280" y="1550"/>
                    <a:pt x="280" y="1550"/>
                  </a:cubicBezTo>
                  <a:cubicBezTo>
                    <a:pt x="268" y="1550"/>
                    <a:pt x="258" y="1540"/>
                    <a:pt x="258" y="1528"/>
                  </a:cubicBezTo>
                  <a:cubicBezTo>
                    <a:pt x="258" y="280"/>
                    <a:pt x="258" y="280"/>
                    <a:pt x="258" y="280"/>
                  </a:cubicBezTo>
                  <a:cubicBezTo>
                    <a:pt x="258" y="268"/>
                    <a:pt x="268" y="258"/>
                    <a:pt x="280" y="258"/>
                  </a:cubicBezTo>
                  <a:cubicBezTo>
                    <a:pt x="1528" y="258"/>
                    <a:pt x="1528" y="258"/>
                    <a:pt x="1528" y="258"/>
                  </a:cubicBezTo>
                  <a:cubicBezTo>
                    <a:pt x="1540" y="258"/>
                    <a:pt x="1550" y="268"/>
                    <a:pt x="1550" y="280"/>
                  </a:cubicBezTo>
                  <a:cubicBezTo>
                    <a:pt x="1550" y="1528"/>
                    <a:pt x="1550" y="1528"/>
                    <a:pt x="1550" y="1528"/>
                  </a:cubicBezTo>
                  <a:cubicBezTo>
                    <a:pt x="1550" y="1540"/>
                    <a:pt x="1540" y="1550"/>
                    <a:pt x="1528" y="1550"/>
                  </a:cubicBezTo>
                  <a:close/>
                  <a:moveTo>
                    <a:pt x="302" y="1506"/>
                  </a:moveTo>
                  <a:cubicBezTo>
                    <a:pt x="1506" y="1506"/>
                    <a:pt x="1506" y="1506"/>
                    <a:pt x="1506" y="1506"/>
                  </a:cubicBezTo>
                  <a:cubicBezTo>
                    <a:pt x="1506" y="302"/>
                    <a:pt x="1506" y="302"/>
                    <a:pt x="1506" y="302"/>
                  </a:cubicBezTo>
                  <a:cubicBezTo>
                    <a:pt x="302" y="302"/>
                    <a:pt x="302" y="302"/>
                    <a:pt x="302" y="302"/>
                  </a:cubicBezTo>
                  <a:lnTo>
                    <a:pt x="302" y="1506"/>
                  </a:lnTo>
                  <a:close/>
                  <a:moveTo>
                    <a:pt x="550" y="180"/>
                  </a:moveTo>
                  <a:cubicBezTo>
                    <a:pt x="550" y="22"/>
                    <a:pt x="550" y="22"/>
                    <a:pt x="550" y="22"/>
                  </a:cubicBezTo>
                  <a:cubicBezTo>
                    <a:pt x="550" y="10"/>
                    <a:pt x="540" y="0"/>
                    <a:pt x="528" y="0"/>
                  </a:cubicBezTo>
                  <a:cubicBezTo>
                    <a:pt x="516" y="0"/>
                    <a:pt x="506" y="10"/>
                    <a:pt x="506" y="22"/>
                  </a:cubicBezTo>
                  <a:cubicBezTo>
                    <a:pt x="506" y="180"/>
                    <a:pt x="506" y="180"/>
                    <a:pt x="506" y="180"/>
                  </a:cubicBezTo>
                  <a:cubicBezTo>
                    <a:pt x="506" y="192"/>
                    <a:pt x="516" y="202"/>
                    <a:pt x="528" y="202"/>
                  </a:cubicBezTo>
                  <a:cubicBezTo>
                    <a:pt x="540" y="202"/>
                    <a:pt x="550" y="192"/>
                    <a:pt x="550" y="180"/>
                  </a:cubicBezTo>
                  <a:close/>
                  <a:moveTo>
                    <a:pt x="801" y="180"/>
                  </a:moveTo>
                  <a:cubicBezTo>
                    <a:pt x="801" y="22"/>
                    <a:pt x="801" y="22"/>
                    <a:pt x="801" y="22"/>
                  </a:cubicBezTo>
                  <a:cubicBezTo>
                    <a:pt x="801" y="10"/>
                    <a:pt x="791" y="0"/>
                    <a:pt x="779" y="0"/>
                  </a:cubicBezTo>
                  <a:cubicBezTo>
                    <a:pt x="766" y="0"/>
                    <a:pt x="757" y="10"/>
                    <a:pt x="757" y="22"/>
                  </a:cubicBezTo>
                  <a:cubicBezTo>
                    <a:pt x="757" y="180"/>
                    <a:pt x="757" y="180"/>
                    <a:pt x="757" y="180"/>
                  </a:cubicBezTo>
                  <a:cubicBezTo>
                    <a:pt x="757" y="192"/>
                    <a:pt x="766" y="202"/>
                    <a:pt x="779" y="202"/>
                  </a:cubicBezTo>
                  <a:cubicBezTo>
                    <a:pt x="791" y="202"/>
                    <a:pt x="801" y="192"/>
                    <a:pt x="801" y="180"/>
                  </a:cubicBezTo>
                  <a:close/>
                  <a:moveTo>
                    <a:pt x="1051" y="180"/>
                  </a:moveTo>
                  <a:cubicBezTo>
                    <a:pt x="1051" y="22"/>
                    <a:pt x="1051" y="22"/>
                    <a:pt x="1051" y="22"/>
                  </a:cubicBezTo>
                  <a:cubicBezTo>
                    <a:pt x="1051" y="10"/>
                    <a:pt x="1042" y="0"/>
                    <a:pt x="1029" y="0"/>
                  </a:cubicBezTo>
                  <a:cubicBezTo>
                    <a:pt x="1017" y="0"/>
                    <a:pt x="1007" y="10"/>
                    <a:pt x="1007" y="22"/>
                  </a:cubicBezTo>
                  <a:cubicBezTo>
                    <a:pt x="1007" y="180"/>
                    <a:pt x="1007" y="180"/>
                    <a:pt x="1007" y="180"/>
                  </a:cubicBezTo>
                  <a:cubicBezTo>
                    <a:pt x="1007" y="192"/>
                    <a:pt x="1017" y="202"/>
                    <a:pt x="1029" y="202"/>
                  </a:cubicBezTo>
                  <a:cubicBezTo>
                    <a:pt x="1042" y="202"/>
                    <a:pt x="1051" y="192"/>
                    <a:pt x="1051" y="180"/>
                  </a:cubicBezTo>
                  <a:close/>
                  <a:moveTo>
                    <a:pt x="1302" y="180"/>
                  </a:moveTo>
                  <a:cubicBezTo>
                    <a:pt x="1302" y="22"/>
                    <a:pt x="1302" y="22"/>
                    <a:pt x="1302" y="22"/>
                  </a:cubicBezTo>
                  <a:cubicBezTo>
                    <a:pt x="1302" y="10"/>
                    <a:pt x="1292" y="0"/>
                    <a:pt x="1280" y="0"/>
                  </a:cubicBezTo>
                  <a:cubicBezTo>
                    <a:pt x="1268" y="0"/>
                    <a:pt x="1258" y="10"/>
                    <a:pt x="1258" y="22"/>
                  </a:cubicBezTo>
                  <a:cubicBezTo>
                    <a:pt x="1258" y="180"/>
                    <a:pt x="1258" y="180"/>
                    <a:pt x="1258" y="180"/>
                  </a:cubicBezTo>
                  <a:cubicBezTo>
                    <a:pt x="1258" y="192"/>
                    <a:pt x="1268" y="202"/>
                    <a:pt x="1280" y="202"/>
                  </a:cubicBezTo>
                  <a:cubicBezTo>
                    <a:pt x="1292" y="202"/>
                    <a:pt x="1302" y="192"/>
                    <a:pt x="1302" y="180"/>
                  </a:cubicBezTo>
                  <a:close/>
                  <a:moveTo>
                    <a:pt x="550" y="1786"/>
                  </a:moveTo>
                  <a:cubicBezTo>
                    <a:pt x="550" y="1628"/>
                    <a:pt x="550" y="1628"/>
                    <a:pt x="550" y="1628"/>
                  </a:cubicBezTo>
                  <a:cubicBezTo>
                    <a:pt x="550" y="1616"/>
                    <a:pt x="540" y="1606"/>
                    <a:pt x="528" y="1606"/>
                  </a:cubicBezTo>
                  <a:cubicBezTo>
                    <a:pt x="516" y="1606"/>
                    <a:pt x="506" y="1616"/>
                    <a:pt x="506" y="1628"/>
                  </a:cubicBezTo>
                  <a:cubicBezTo>
                    <a:pt x="506" y="1786"/>
                    <a:pt x="506" y="1786"/>
                    <a:pt x="506" y="1786"/>
                  </a:cubicBezTo>
                  <a:cubicBezTo>
                    <a:pt x="506" y="1798"/>
                    <a:pt x="516" y="1808"/>
                    <a:pt x="528" y="1808"/>
                  </a:cubicBezTo>
                  <a:cubicBezTo>
                    <a:pt x="540" y="1808"/>
                    <a:pt x="550" y="1798"/>
                    <a:pt x="550" y="1786"/>
                  </a:cubicBezTo>
                  <a:close/>
                  <a:moveTo>
                    <a:pt x="801" y="1786"/>
                  </a:moveTo>
                  <a:cubicBezTo>
                    <a:pt x="801" y="1628"/>
                    <a:pt x="801" y="1628"/>
                    <a:pt x="801" y="1628"/>
                  </a:cubicBezTo>
                  <a:cubicBezTo>
                    <a:pt x="801" y="1616"/>
                    <a:pt x="791" y="1606"/>
                    <a:pt x="779" y="1606"/>
                  </a:cubicBezTo>
                  <a:cubicBezTo>
                    <a:pt x="766" y="1606"/>
                    <a:pt x="757" y="1616"/>
                    <a:pt x="757" y="1628"/>
                  </a:cubicBezTo>
                  <a:cubicBezTo>
                    <a:pt x="757" y="1786"/>
                    <a:pt x="757" y="1786"/>
                    <a:pt x="757" y="1786"/>
                  </a:cubicBezTo>
                  <a:cubicBezTo>
                    <a:pt x="757" y="1798"/>
                    <a:pt x="766" y="1808"/>
                    <a:pt x="779" y="1808"/>
                  </a:cubicBezTo>
                  <a:cubicBezTo>
                    <a:pt x="791" y="1808"/>
                    <a:pt x="801" y="1798"/>
                    <a:pt x="801" y="1786"/>
                  </a:cubicBezTo>
                  <a:close/>
                  <a:moveTo>
                    <a:pt x="1051" y="1786"/>
                  </a:moveTo>
                  <a:cubicBezTo>
                    <a:pt x="1051" y="1628"/>
                    <a:pt x="1051" y="1628"/>
                    <a:pt x="1051" y="1628"/>
                  </a:cubicBezTo>
                  <a:cubicBezTo>
                    <a:pt x="1051" y="1616"/>
                    <a:pt x="1042" y="1606"/>
                    <a:pt x="1029" y="1606"/>
                  </a:cubicBezTo>
                  <a:cubicBezTo>
                    <a:pt x="1017" y="1606"/>
                    <a:pt x="1007" y="1616"/>
                    <a:pt x="1007" y="1628"/>
                  </a:cubicBezTo>
                  <a:cubicBezTo>
                    <a:pt x="1007" y="1786"/>
                    <a:pt x="1007" y="1786"/>
                    <a:pt x="1007" y="1786"/>
                  </a:cubicBezTo>
                  <a:cubicBezTo>
                    <a:pt x="1007" y="1798"/>
                    <a:pt x="1017" y="1808"/>
                    <a:pt x="1029" y="1808"/>
                  </a:cubicBezTo>
                  <a:cubicBezTo>
                    <a:pt x="1042" y="1808"/>
                    <a:pt x="1051" y="1798"/>
                    <a:pt x="1051" y="1786"/>
                  </a:cubicBezTo>
                  <a:close/>
                  <a:moveTo>
                    <a:pt x="1302" y="1786"/>
                  </a:moveTo>
                  <a:cubicBezTo>
                    <a:pt x="1302" y="1628"/>
                    <a:pt x="1302" y="1628"/>
                    <a:pt x="1302" y="1628"/>
                  </a:cubicBezTo>
                  <a:cubicBezTo>
                    <a:pt x="1302" y="1616"/>
                    <a:pt x="1292" y="1606"/>
                    <a:pt x="1280" y="1606"/>
                  </a:cubicBezTo>
                  <a:cubicBezTo>
                    <a:pt x="1268" y="1606"/>
                    <a:pt x="1258" y="1616"/>
                    <a:pt x="1258" y="1628"/>
                  </a:cubicBezTo>
                  <a:cubicBezTo>
                    <a:pt x="1258" y="1786"/>
                    <a:pt x="1258" y="1786"/>
                    <a:pt x="1258" y="1786"/>
                  </a:cubicBezTo>
                  <a:cubicBezTo>
                    <a:pt x="1258" y="1798"/>
                    <a:pt x="1268" y="1808"/>
                    <a:pt x="1280" y="1808"/>
                  </a:cubicBezTo>
                  <a:cubicBezTo>
                    <a:pt x="1292" y="1808"/>
                    <a:pt x="1302" y="1798"/>
                    <a:pt x="1302" y="1786"/>
                  </a:cubicBezTo>
                  <a:close/>
                  <a:moveTo>
                    <a:pt x="1808" y="528"/>
                  </a:moveTo>
                  <a:cubicBezTo>
                    <a:pt x="1808" y="516"/>
                    <a:pt x="1798" y="506"/>
                    <a:pt x="1786" y="506"/>
                  </a:cubicBezTo>
                  <a:cubicBezTo>
                    <a:pt x="1628" y="506"/>
                    <a:pt x="1628" y="506"/>
                    <a:pt x="1628" y="506"/>
                  </a:cubicBezTo>
                  <a:cubicBezTo>
                    <a:pt x="1616" y="506"/>
                    <a:pt x="1606" y="516"/>
                    <a:pt x="1606" y="528"/>
                  </a:cubicBezTo>
                  <a:cubicBezTo>
                    <a:pt x="1606" y="540"/>
                    <a:pt x="1616" y="550"/>
                    <a:pt x="1628" y="550"/>
                  </a:cubicBezTo>
                  <a:cubicBezTo>
                    <a:pt x="1786" y="550"/>
                    <a:pt x="1786" y="550"/>
                    <a:pt x="1786" y="550"/>
                  </a:cubicBezTo>
                  <a:cubicBezTo>
                    <a:pt x="1798" y="550"/>
                    <a:pt x="1808" y="540"/>
                    <a:pt x="1808" y="528"/>
                  </a:cubicBezTo>
                  <a:close/>
                  <a:moveTo>
                    <a:pt x="1808" y="779"/>
                  </a:moveTo>
                  <a:cubicBezTo>
                    <a:pt x="1808" y="766"/>
                    <a:pt x="1798" y="757"/>
                    <a:pt x="1786" y="757"/>
                  </a:cubicBezTo>
                  <a:cubicBezTo>
                    <a:pt x="1628" y="757"/>
                    <a:pt x="1628" y="757"/>
                    <a:pt x="1628" y="757"/>
                  </a:cubicBezTo>
                  <a:cubicBezTo>
                    <a:pt x="1616" y="757"/>
                    <a:pt x="1606" y="766"/>
                    <a:pt x="1606" y="779"/>
                  </a:cubicBezTo>
                  <a:cubicBezTo>
                    <a:pt x="1606" y="791"/>
                    <a:pt x="1616" y="801"/>
                    <a:pt x="1628" y="801"/>
                  </a:cubicBezTo>
                  <a:cubicBezTo>
                    <a:pt x="1786" y="801"/>
                    <a:pt x="1786" y="801"/>
                    <a:pt x="1786" y="801"/>
                  </a:cubicBezTo>
                  <a:cubicBezTo>
                    <a:pt x="1798" y="801"/>
                    <a:pt x="1808" y="791"/>
                    <a:pt x="1808" y="779"/>
                  </a:cubicBezTo>
                  <a:close/>
                  <a:moveTo>
                    <a:pt x="1808" y="1029"/>
                  </a:moveTo>
                  <a:cubicBezTo>
                    <a:pt x="1808" y="1017"/>
                    <a:pt x="1798" y="1007"/>
                    <a:pt x="1786" y="1007"/>
                  </a:cubicBezTo>
                  <a:cubicBezTo>
                    <a:pt x="1628" y="1007"/>
                    <a:pt x="1628" y="1007"/>
                    <a:pt x="1628" y="1007"/>
                  </a:cubicBezTo>
                  <a:cubicBezTo>
                    <a:pt x="1616" y="1007"/>
                    <a:pt x="1606" y="1017"/>
                    <a:pt x="1606" y="1029"/>
                  </a:cubicBezTo>
                  <a:cubicBezTo>
                    <a:pt x="1606" y="1042"/>
                    <a:pt x="1616" y="1051"/>
                    <a:pt x="1628" y="1051"/>
                  </a:cubicBezTo>
                  <a:cubicBezTo>
                    <a:pt x="1786" y="1051"/>
                    <a:pt x="1786" y="1051"/>
                    <a:pt x="1786" y="1051"/>
                  </a:cubicBezTo>
                  <a:cubicBezTo>
                    <a:pt x="1798" y="1051"/>
                    <a:pt x="1808" y="1042"/>
                    <a:pt x="1808" y="1029"/>
                  </a:cubicBezTo>
                  <a:close/>
                  <a:moveTo>
                    <a:pt x="1808" y="1280"/>
                  </a:moveTo>
                  <a:cubicBezTo>
                    <a:pt x="1808" y="1268"/>
                    <a:pt x="1798" y="1258"/>
                    <a:pt x="1786" y="1258"/>
                  </a:cubicBezTo>
                  <a:cubicBezTo>
                    <a:pt x="1628" y="1258"/>
                    <a:pt x="1628" y="1258"/>
                    <a:pt x="1628" y="1258"/>
                  </a:cubicBezTo>
                  <a:cubicBezTo>
                    <a:pt x="1616" y="1258"/>
                    <a:pt x="1606" y="1268"/>
                    <a:pt x="1606" y="1280"/>
                  </a:cubicBezTo>
                  <a:cubicBezTo>
                    <a:pt x="1606" y="1292"/>
                    <a:pt x="1616" y="1302"/>
                    <a:pt x="1628" y="1302"/>
                  </a:cubicBezTo>
                  <a:cubicBezTo>
                    <a:pt x="1786" y="1302"/>
                    <a:pt x="1786" y="1302"/>
                    <a:pt x="1786" y="1302"/>
                  </a:cubicBezTo>
                  <a:cubicBezTo>
                    <a:pt x="1798" y="1302"/>
                    <a:pt x="1808" y="1292"/>
                    <a:pt x="1808" y="1280"/>
                  </a:cubicBezTo>
                  <a:close/>
                  <a:moveTo>
                    <a:pt x="202" y="528"/>
                  </a:moveTo>
                  <a:cubicBezTo>
                    <a:pt x="202" y="516"/>
                    <a:pt x="192" y="506"/>
                    <a:pt x="180" y="506"/>
                  </a:cubicBezTo>
                  <a:cubicBezTo>
                    <a:pt x="22" y="506"/>
                    <a:pt x="22" y="506"/>
                    <a:pt x="22" y="506"/>
                  </a:cubicBezTo>
                  <a:cubicBezTo>
                    <a:pt x="10" y="506"/>
                    <a:pt x="0" y="516"/>
                    <a:pt x="0" y="528"/>
                  </a:cubicBezTo>
                  <a:cubicBezTo>
                    <a:pt x="0" y="540"/>
                    <a:pt x="10" y="550"/>
                    <a:pt x="22" y="550"/>
                  </a:cubicBezTo>
                  <a:cubicBezTo>
                    <a:pt x="180" y="550"/>
                    <a:pt x="180" y="550"/>
                    <a:pt x="180" y="550"/>
                  </a:cubicBezTo>
                  <a:cubicBezTo>
                    <a:pt x="192" y="550"/>
                    <a:pt x="202" y="540"/>
                    <a:pt x="202" y="528"/>
                  </a:cubicBezTo>
                  <a:close/>
                  <a:moveTo>
                    <a:pt x="202" y="779"/>
                  </a:moveTo>
                  <a:cubicBezTo>
                    <a:pt x="202" y="766"/>
                    <a:pt x="192" y="757"/>
                    <a:pt x="180" y="757"/>
                  </a:cubicBezTo>
                  <a:cubicBezTo>
                    <a:pt x="22" y="757"/>
                    <a:pt x="22" y="757"/>
                    <a:pt x="22" y="757"/>
                  </a:cubicBezTo>
                  <a:cubicBezTo>
                    <a:pt x="10" y="757"/>
                    <a:pt x="0" y="766"/>
                    <a:pt x="0" y="779"/>
                  </a:cubicBezTo>
                  <a:cubicBezTo>
                    <a:pt x="0" y="791"/>
                    <a:pt x="10" y="801"/>
                    <a:pt x="22" y="801"/>
                  </a:cubicBezTo>
                  <a:cubicBezTo>
                    <a:pt x="180" y="801"/>
                    <a:pt x="180" y="801"/>
                    <a:pt x="180" y="801"/>
                  </a:cubicBezTo>
                  <a:cubicBezTo>
                    <a:pt x="192" y="801"/>
                    <a:pt x="202" y="791"/>
                    <a:pt x="202" y="779"/>
                  </a:cubicBezTo>
                  <a:close/>
                  <a:moveTo>
                    <a:pt x="202" y="1029"/>
                  </a:moveTo>
                  <a:cubicBezTo>
                    <a:pt x="202" y="1017"/>
                    <a:pt x="192" y="1007"/>
                    <a:pt x="180" y="1007"/>
                  </a:cubicBezTo>
                  <a:cubicBezTo>
                    <a:pt x="22" y="1007"/>
                    <a:pt x="22" y="1007"/>
                    <a:pt x="22" y="1007"/>
                  </a:cubicBezTo>
                  <a:cubicBezTo>
                    <a:pt x="10" y="1007"/>
                    <a:pt x="0" y="1017"/>
                    <a:pt x="0" y="1029"/>
                  </a:cubicBezTo>
                  <a:cubicBezTo>
                    <a:pt x="0" y="1042"/>
                    <a:pt x="10" y="1051"/>
                    <a:pt x="22" y="1051"/>
                  </a:cubicBezTo>
                  <a:cubicBezTo>
                    <a:pt x="180" y="1051"/>
                    <a:pt x="180" y="1051"/>
                    <a:pt x="180" y="1051"/>
                  </a:cubicBezTo>
                  <a:cubicBezTo>
                    <a:pt x="192" y="1051"/>
                    <a:pt x="202" y="1042"/>
                    <a:pt x="202" y="1029"/>
                  </a:cubicBezTo>
                  <a:close/>
                  <a:moveTo>
                    <a:pt x="202" y="1280"/>
                  </a:moveTo>
                  <a:cubicBezTo>
                    <a:pt x="202" y="1268"/>
                    <a:pt x="192" y="1258"/>
                    <a:pt x="180" y="1258"/>
                  </a:cubicBezTo>
                  <a:cubicBezTo>
                    <a:pt x="22" y="1258"/>
                    <a:pt x="22" y="1258"/>
                    <a:pt x="22" y="1258"/>
                  </a:cubicBezTo>
                  <a:cubicBezTo>
                    <a:pt x="10" y="1258"/>
                    <a:pt x="0" y="1268"/>
                    <a:pt x="0" y="1280"/>
                  </a:cubicBezTo>
                  <a:cubicBezTo>
                    <a:pt x="0" y="1292"/>
                    <a:pt x="10" y="1302"/>
                    <a:pt x="22" y="1302"/>
                  </a:cubicBezTo>
                  <a:cubicBezTo>
                    <a:pt x="180" y="1302"/>
                    <a:pt x="180" y="1302"/>
                    <a:pt x="180" y="1302"/>
                  </a:cubicBezTo>
                  <a:cubicBezTo>
                    <a:pt x="192" y="1302"/>
                    <a:pt x="202" y="1292"/>
                    <a:pt x="202" y="1280"/>
                  </a:cubicBezTo>
                  <a:close/>
                </a:path>
              </a:pathLst>
            </a:custGeom>
            <a:solidFill>
              <a:srgbClr val="005674">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a:extLst>
                <a:ext uri="{FF2B5EF4-FFF2-40B4-BE49-F238E27FC236}">
                  <a16:creationId xmlns:a16="http://schemas.microsoft.com/office/drawing/2014/main" id="{1D85BA0B-6B8D-41E9-84A0-2231E781E15A}"/>
                </a:ext>
              </a:extLst>
            </p:cNvPr>
            <p:cNvSpPr>
              <a:spLocks noEditPoints="1"/>
            </p:cNvSpPr>
            <p:nvPr/>
          </p:nvSpPr>
          <p:spPr bwMode="auto">
            <a:xfrm>
              <a:off x="2849" y="1166"/>
              <a:ext cx="1982" cy="1984"/>
            </a:xfrm>
            <a:custGeom>
              <a:avLst/>
              <a:gdLst>
                <a:gd name="T0" fmla="*/ 1048 w 1058"/>
                <a:gd name="T1" fmla="*/ 0 h 1058"/>
                <a:gd name="T2" fmla="*/ 10 w 1058"/>
                <a:gd name="T3" fmla="*/ 0 h 1058"/>
                <a:gd name="T4" fmla="*/ 0 w 1058"/>
                <a:gd name="T5" fmla="*/ 10 h 1058"/>
                <a:gd name="T6" fmla="*/ 0 w 1058"/>
                <a:gd name="T7" fmla="*/ 1048 h 1058"/>
                <a:gd name="T8" fmla="*/ 10 w 1058"/>
                <a:gd name="T9" fmla="*/ 1058 h 1058"/>
                <a:gd name="T10" fmla="*/ 1048 w 1058"/>
                <a:gd name="T11" fmla="*/ 1058 h 1058"/>
                <a:gd name="T12" fmla="*/ 1058 w 1058"/>
                <a:gd name="T13" fmla="*/ 1048 h 1058"/>
                <a:gd name="T14" fmla="*/ 1058 w 1058"/>
                <a:gd name="T15" fmla="*/ 10 h 1058"/>
                <a:gd name="T16" fmla="*/ 1048 w 1058"/>
                <a:gd name="T17" fmla="*/ 0 h 1058"/>
                <a:gd name="T18" fmla="*/ 819 w 1058"/>
                <a:gd name="T19" fmla="*/ 809 h 1058"/>
                <a:gd name="T20" fmla="*/ 809 w 1058"/>
                <a:gd name="T21" fmla="*/ 819 h 1058"/>
                <a:gd name="T22" fmla="*/ 249 w 1058"/>
                <a:gd name="T23" fmla="*/ 819 h 1058"/>
                <a:gd name="T24" fmla="*/ 239 w 1058"/>
                <a:gd name="T25" fmla="*/ 809 h 1058"/>
                <a:gd name="T26" fmla="*/ 239 w 1058"/>
                <a:gd name="T27" fmla="*/ 249 h 1058"/>
                <a:gd name="T28" fmla="*/ 249 w 1058"/>
                <a:gd name="T29" fmla="*/ 239 h 1058"/>
                <a:gd name="T30" fmla="*/ 809 w 1058"/>
                <a:gd name="T31" fmla="*/ 239 h 1058"/>
                <a:gd name="T32" fmla="*/ 819 w 1058"/>
                <a:gd name="T33" fmla="*/ 249 h 1058"/>
                <a:gd name="T34" fmla="*/ 819 w 1058"/>
                <a:gd name="T35" fmla="*/ 809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8" h="1058">
                  <a:moveTo>
                    <a:pt x="1048" y="0"/>
                  </a:moveTo>
                  <a:cubicBezTo>
                    <a:pt x="10" y="0"/>
                    <a:pt x="10" y="0"/>
                    <a:pt x="10" y="0"/>
                  </a:cubicBezTo>
                  <a:cubicBezTo>
                    <a:pt x="4" y="0"/>
                    <a:pt x="0" y="4"/>
                    <a:pt x="0" y="10"/>
                  </a:cubicBezTo>
                  <a:cubicBezTo>
                    <a:pt x="0" y="1048"/>
                    <a:pt x="0" y="1048"/>
                    <a:pt x="0" y="1048"/>
                  </a:cubicBezTo>
                  <a:cubicBezTo>
                    <a:pt x="0" y="1054"/>
                    <a:pt x="4" y="1058"/>
                    <a:pt x="10" y="1058"/>
                  </a:cubicBezTo>
                  <a:cubicBezTo>
                    <a:pt x="1048" y="1058"/>
                    <a:pt x="1048" y="1058"/>
                    <a:pt x="1048" y="1058"/>
                  </a:cubicBezTo>
                  <a:cubicBezTo>
                    <a:pt x="1054" y="1058"/>
                    <a:pt x="1058" y="1054"/>
                    <a:pt x="1058" y="1048"/>
                  </a:cubicBezTo>
                  <a:cubicBezTo>
                    <a:pt x="1058" y="10"/>
                    <a:pt x="1058" y="10"/>
                    <a:pt x="1058" y="10"/>
                  </a:cubicBezTo>
                  <a:cubicBezTo>
                    <a:pt x="1058" y="4"/>
                    <a:pt x="1054" y="0"/>
                    <a:pt x="1048" y="0"/>
                  </a:cubicBezTo>
                  <a:close/>
                  <a:moveTo>
                    <a:pt x="819" y="809"/>
                  </a:moveTo>
                  <a:cubicBezTo>
                    <a:pt x="819" y="814"/>
                    <a:pt x="814" y="819"/>
                    <a:pt x="809" y="819"/>
                  </a:cubicBezTo>
                  <a:cubicBezTo>
                    <a:pt x="249" y="819"/>
                    <a:pt x="249" y="819"/>
                    <a:pt x="249" y="819"/>
                  </a:cubicBezTo>
                  <a:cubicBezTo>
                    <a:pt x="244" y="819"/>
                    <a:pt x="239" y="814"/>
                    <a:pt x="239" y="809"/>
                  </a:cubicBezTo>
                  <a:cubicBezTo>
                    <a:pt x="239" y="249"/>
                    <a:pt x="239" y="249"/>
                    <a:pt x="239" y="249"/>
                  </a:cubicBezTo>
                  <a:cubicBezTo>
                    <a:pt x="239" y="244"/>
                    <a:pt x="244" y="239"/>
                    <a:pt x="249" y="239"/>
                  </a:cubicBezTo>
                  <a:cubicBezTo>
                    <a:pt x="809" y="239"/>
                    <a:pt x="809" y="239"/>
                    <a:pt x="809" y="239"/>
                  </a:cubicBezTo>
                  <a:cubicBezTo>
                    <a:pt x="814" y="239"/>
                    <a:pt x="819" y="244"/>
                    <a:pt x="819" y="249"/>
                  </a:cubicBezTo>
                  <a:lnTo>
                    <a:pt x="819" y="809"/>
                  </a:lnTo>
                  <a:close/>
                </a:path>
              </a:pathLst>
            </a:custGeom>
            <a:solidFill>
              <a:srgbClr val="00AEEF">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 name="Oval 29">
            <a:extLst>
              <a:ext uri="{FF2B5EF4-FFF2-40B4-BE49-F238E27FC236}">
                <a16:creationId xmlns:a16="http://schemas.microsoft.com/office/drawing/2014/main" id="{01E3DF50-E147-4E10-9D12-49FDDAE07F37}"/>
              </a:ext>
            </a:extLst>
          </p:cNvPr>
          <p:cNvSpPr>
            <a:spLocks/>
          </p:cNvSpPr>
          <p:nvPr/>
        </p:nvSpPr>
        <p:spPr>
          <a:xfrm>
            <a:off x="4911028" y="2505252"/>
            <a:ext cx="1232719" cy="1232719"/>
          </a:xfrm>
          <a:prstGeom prst="ellipse">
            <a:avLst/>
          </a:prstGeom>
          <a:solidFill>
            <a:srgbClr val="FFFFFF"/>
          </a:solidFill>
          <a:ln w="38100">
            <a:gradFill flip="none" rotWithShape="1">
              <a:gsLst>
                <a:gs pos="0">
                  <a:srgbClr val="0082B0"/>
                </a:gs>
                <a:gs pos="100000">
                  <a:srgbClr val="00AEEF"/>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kern="0">
              <a:solidFill>
                <a:srgbClr val="77777A"/>
              </a:solidFill>
              <a:cs typeface="Arial"/>
            </a:endParaRPr>
          </a:p>
        </p:txBody>
      </p:sp>
      <p:grpSp>
        <p:nvGrpSpPr>
          <p:cNvPr id="31" name="Group 30">
            <a:extLst>
              <a:ext uri="{FF2B5EF4-FFF2-40B4-BE49-F238E27FC236}">
                <a16:creationId xmlns:a16="http://schemas.microsoft.com/office/drawing/2014/main" id="{BCB92A71-0DDA-4395-8228-491B9164E532}"/>
              </a:ext>
            </a:extLst>
          </p:cNvPr>
          <p:cNvGrpSpPr>
            <a:grpSpLocks noChangeAspect="1"/>
          </p:cNvGrpSpPr>
          <p:nvPr/>
        </p:nvGrpSpPr>
        <p:grpSpPr>
          <a:xfrm>
            <a:off x="5070612" y="2696867"/>
            <a:ext cx="914399" cy="914400"/>
            <a:chOff x="5272881" y="2605881"/>
            <a:chExt cx="1646238" cy="1646239"/>
          </a:xfrm>
        </p:grpSpPr>
        <p:sp>
          <p:nvSpPr>
            <p:cNvPr id="32" name="Rectangle 5">
              <a:extLst>
                <a:ext uri="{FF2B5EF4-FFF2-40B4-BE49-F238E27FC236}">
                  <a16:creationId xmlns:a16="http://schemas.microsoft.com/office/drawing/2014/main" id="{55D4107E-F3DF-4275-ADEE-B778D96F6A44}"/>
                </a:ext>
              </a:extLst>
            </p:cNvPr>
            <p:cNvSpPr>
              <a:spLocks noChangeArrowheads="1"/>
            </p:cNvSpPr>
            <p:nvPr/>
          </p:nvSpPr>
          <p:spPr bwMode="auto">
            <a:xfrm>
              <a:off x="5272881" y="2605881"/>
              <a:ext cx="1646238" cy="1646239"/>
            </a:xfrm>
            <a:prstGeom prst="rect">
              <a:avLst/>
            </a:prstGeom>
            <a:noFill/>
            <a:ln w="3175" cap="rnd">
              <a:noFill/>
              <a:prstDash val="solid"/>
              <a:round/>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cap="rnd">
                  <a:solidFill>
                    <a:srgbClr val="B2579D"/>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33" name="Group 32">
              <a:extLst>
                <a:ext uri="{FF2B5EF4-FFF2-40B4-BE49-F238E27FC236}">
                  <a16:creationId xmlns:a16="http://schemas.microsoft.com/office/drawing/2014/main" id="{3D04D382-5776-4317-8066-FDCDEBDD4468}"/>
                </a:ext>
              </a:extLst>
            </p:cNvPr>
            <p:cNvGrpSpPr/>
            <p:nvPr/>
          </p:nvGrpSpPr>
          <p:grpSpPr>
            <a:xfrm>
              <a:off x="5406404" y="2741032"/>
              <a:ext cx="1379192" cy="1375937"/>
              <a:chOff x="5406404" y="2741032"/>
              <a:chExt cx="1379192" cy="1375937"/>
            </a:xfrm>
          </p:grpSpPr>
          <p:sp>
            <p:nvSpPr>
              <p:cNvPr id="34" name="Freeform 70">
                <a:extLst>
                  <a:ext uri="{FF2B5EF4-FFF2-40B4-BE49-F238E27FC236}">
                    <a16:creationId xmlns:a16="http://schemas.microsoft.com/office/drawing/2014/main" id="{5D2B719B-5EFE-4E16-97E5-3638FAF049A0}"/>
                  </a:ext>
                </a:extLst>
              </p:cNvPr>
              <p:cNvSpPr>
                <a:spLocks noEditPoints="1"/>
              </p:cNvSpPr>
              <p:nvPr/>
            </p:nvSpPr>
            <p:spPr bwMode="auto">
              <a:xfrm>
                <a:off x="5406404" y="2824077"/>
                <a:ext cx="1379192" cy="1209847"/>
              </a:xfrm>
              <a:custGeom>
                <a:avLst/>
                <a:gdLst>
                  <a:gd name="T0" fmla="*/ 1808 w 1931"/>
                  <a:gd name="T1" fmla="*/ 907 h 1694"/>
                  <a:gd name="T2" fmla="*/ 1696 w 1931"/>
                  <a:gd name="T3" fmla="*/ 770 h 1694"/>
                  <a:gd name="T4" fmla="*/ 1143 w 1931"/>
                  <a:gd name="T5" fmla="*/ 46 h 1694"/>
                  <a:gd name="T6" fmla="*/ 1638 w 1931"/>
                  <a:gd name="T7" fmla="*/ 302 h 1694"/>
                  <a:gd name="T8" fmla="*/ 1922 w 1931"/>
                  <a:gd name="T9" fmla="*/ 773 h 1694"/>
                  <a:gd name="T10" fmla="*/ 144 w 1931"/>
                  <a:gd name="T11" fmla="*/ 864 h 1694"/>
                  <a:gd name="T12" fmla="*/ 235 w 1931"/>
                  <a:gd name="T13" fmla="*/ 926 h 1694"/>
                  <a:gd name="T14" fmla="*/ 108 w 1931"/>
                  <a:gd name="T15" fmla="*/ 796 h 1694"/>
                  <a:gd name="T16" fmla="*/ 40 w 1931"/>
                  <a:gd name="T17" fmla="*/ 924 h 1694"/>
                  <a:gd name="T18" fmla="*/ 778 w 1931"/>
                  <a:gd name="T19" fmla="*/ 1694 h 1694"/>
                  <a:gd name="T20" fmla="*/ 788 w 1931"/>
                  <a:gd name="T21" fmla="*/ 1651 h 1694"/>
                  <a:gd name="T22" fmla="*/ 947 w 1931"/>
                  <a:gd name="T23" fmla="*/ 1091 h 1694"/>
                  <a:gd name="T24" fmla="*/ 794 w 1931"/>
                  <a:gd name="T25" fmla="*/ 1303 h 1694"/>
                  <a:gd name="T26" fmla="*/ 953 w 1931"/>
                  <a:gd name="T27" fmla="*/ 1306 h 1694"/>
                  <a:gd name="T28" fmla="*/ 1132 w 1931"/>
                  <a:gd name="T29" fmla="*/ 1091 h 1694"/>
                  <a:gd name="T30" fmla="*/ 979 w 1931"/>
                  <a:gd name="T31" fmla="*/ 1303 h 1694"/>
                  <a:gd name="T32" fmla="*/ 1138 w 1931"/>
                  <a:gd name="T33" fmla="*/ 1306 h 1694"/>
                  <a:gd name="T34" fmla="*/ 1030 w 1931"/>
                  <a:gd name="T35" fmla="*/ 581 h 1694"/>
                  <a:gd name="T36" fmla="*/ 912 w 1931"/>
                  <a:gd name="T37" fmla="*/ 409 h 1694"/>
                  <a:gd name="T38" fmla="*/ 909 w 1931"/>
                  <a:gd name="T39" fmla="*/ 587 h 1694"/>
                  <a:gd name="T40" fmla="*/ 1030 w 1931"/>
                  <a:gd name="T41" fmla="*/ 794 h 1694"/>
                  <a:gd name="T42" fmla="*/ 912 w 1931"/>
                  <a:gd name="T43" fmla="*/ 622 h 1694"/>
                  <a:gd name="T44" fmla="*/ 909 w 1931"/>
                  <a:gd name="T45" fmla="*/ 800 h 1694"/>
                  <a:gd name="T46" fmla="*/ 856 w 1931"/>
                  <a:gd name="T47" fmla="*/ 581 h 1694"/>
                  <a:gd name="T48" fmla="*/ 739 w 1931"/>
                  <a:gd name="T49" fmla="*/ 409 h 1694"/>
                  <a:gd name="T50" fmla="*/ 735 w 1931"/>
                  <a:gd name="T51" fmla="*/ 587 h 1694"/>
                  <a:gd name="T52" fmla="*/ 856 w 1931"/>
                  <a:gd name="T53" fmla="*/ 794 h 1694"/>
                  <a:gd name="T54" fmla="*/ 739 w 1931"/>
                  <a:gd name="T55" fmla="*/ 622 h 1694"/>
                  <a:gd name="T56" fmla="*/ 735 w 1931"/>
                  <a:gd name="T57" fmla="*/ 800 h 1694"/>
                  <a:gd name="T58" fmla="*/ 1203 w 1931"/>
                  <a:gd name="T59" fmla="*/ 581 h 1694"/>
                  <a:gd name="T60" fmla="*/ 1086 w 1931"/>
                  <a:gd name="T61" fmla="*/ 409 h 1694"/>
                  <a:gd name="T62" fmla="*/ 1082 w 1931"/>
                  <a:gd name="T63" fmla="*/ 587 h 1694"/>
                  <a:gd name="T64" fmla="*/ 1203 w 1931"/>
                  <a:gd name="T65" fmla="*/ 794 h 1694"/>
                  <a:gd name="T66" fmla="*/ 1086 w 1931"/>
                  <a:gd name="T67" fmla="*/ 622 h 1694"/>
                  <a:gd name="T68" fmla="*/ 1082 w 1931"/>
                  <a:gd name="T69" fmla="*/ 800 h 1694"/>
                  <a:gd name="T70" fmla="*/ 1030 w 1931"/>
                  <a:gd name="T71" fmla="*/ 1007 h 1694"/>
                  <a:gd name="T72" fmla="*/ 912 w 1931"/>
                  <a:gd name="T73" fmla="*/ 835 h 1694"/>
                  <a:gd name="T74" fmla="*/ 909 w 1931"/>
                  <a:gd name="T75" fmla="*/ 1013 h 1694"/>
                  <a:gd name="T76" fmla="*/ 856 w 1931"/>
                  <a:gd name="T77" fmla="*/ 1007 h 1694"/>
                  <a:gd name="T78" fmla="*/ 739 w 1931"/>
                  <a:gd name="T79" fmla="*/ 835 h 1694"/>
                  <a:gd name="T80" fmla="*/ 735 w 1931"/>
                  <a:gd name="T81" fmla="*/ 1013 h 1694"/>
                  <a:gd name="T82" fmla="*/ 1203 w 1931"/>
                  <a:gd name="T83" fmla="*/ 1007 h 1694"/>
                  <a:gd name="T84" fmla="*/ 1086 w 1931"/>
                  <a:gd name="T85" fmla="*/ 835 h 1694"/>
                  <a:gd name="T86" fmla="*/ 1082 w 1931"/>
                  <a:gd name="T87" fmla="*/ 1013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31" h="1694">
                    <a:moveTo>
                      <a:pt x="1922" y="804"/>
                    </a:moveTo>
                    <a:cubicBezTo>
                      <a:pt x="1823" y="901"/>
                      <a:pt x="1823" y="901"/>
                      <a:pt x="1823" y="901"/>
                    </a:cubicBezTo>
                    <a:cubicBezTo>
                      <a:pt x="1819" y="905"/>
                      <a:pt x="1813" y="907"/>
                      <a:pt x="1808" y="907"/>
                    </a:cubicBezTo>
                    <a:cubicBezTo>
                      <a:pt x="1802" y="907"/>
                      <a:pt x="1796" y="905"/>
                      <a:pt x="1792" y="900"/>
                    </a:cubicBezTo>
                    <a:cubicBezTo>
                      <a:pt x="1695" y="801"/>
                      <a:pt x="1695" y="801"/>
                      <a:pt x="1695" y="801"/>
                    </a:cubicBezTo>
                    <a:cubicBezTo>
                      <a:pt x="1687" y="792"/>
                      <a:pt x="1687" y="778"/>
                      <a:pt x="1696" y="770"/>
                    </a:cubicBezTo>
                    <a:cubicBezTo>
                      <a:pt x="1705" y="762"/>
                      <a:pt x="1718" y="762"/>
                      <a:pt x="1727" y="770"/>
                    </a:cubicBezTo>
                    <a:cubicBezTo>
                      <a:pt x="1787" y="832"/>
                      <a:pt x="1787" y="832"/>
                      <a:pt x="1787" y="832"/>
                    </a:cubicBezTo>
                    <a:cubicBezTo>
                      <a:pt x="1780" y="456"/>
                      <a:pt x="1511" y="127"/>
                      <a:pt x="1143" y="46"/>
                    </a:cubicBezTo>
                    <a:cubicBezTo>
                      <a:pt x="1132" y="43"/>
                      <a:pt x="1124" y="31"/>
                      <a:pt x="1127" y="20"/>
                    </a:cubicBezTo>
                    <a:cubicBezTo>
                      <a:pt x="1129" y="8"/>
                      <a:pt x="1141" y="0"/>
                      <a:pt x="1153" y="3"/>
                    </a:cubicBezTo>
                    <a:cubicBezTo>
                      <a:pt x="1342" y="45"/>
                      <a:pt x="1515" y="151"/>
                      <a:pt x="1638" y="302"/>
                    </a:cubicBezTo>
                    <a:cubicBezTo>
                      <a:pt x="1759" y="452"/>
                      <a:pt x="1827" y="639"/>
                      <a:pt x="1831" y="831"/>
                    </a:cubicBezTo>
                    <a:cubicBezTo>
                      <a:pt x="1891" y="773"/>
                      <a:pt x="1891" y="773"/>
                      <a:pt x="1891" y="773"/>
                    </a:cubicBezTo>
                    <a:cubicBezTo>
                      <a:pt x="1900" y="764"/>
                      <a:pt x="1914" y="764"/>
                      <a:pt x="1922" y="773"/>
                    </a:cubicBezTo>
                    <a:cubicBezTo>
                      <a:pt x="1931" y="782"/>
                      <a:pt x="1931" y="796"/>
                      <a:pt x="1922" y="804"/>
                    </a:cubicBezTo>
                    <a:close/>
                    <a:moveTo>
                      <a:pt x="788" y="1651"/>
                    </a:moveTo>
                    <a:cubicBezTo>
                      <a:pt x="420" y="1569"/>
                      <a:pt x="151" y="1240"/>
                      <a:pt x="144" y="864"/>
                    </a:cubicBezTo>
                    <a:cubicBezTo>
                      <a:pt x="204" y="926"/>
                      <a:pt x="204" y="926"/>
                      <a:pt x="204" y="926"/>
                    </a:cubicBezTo>
                    <a:cubicBezTo>
                      <a:pt x="208" y="930"/>
                      <a:pt x="214" y="933"/>
                      <a:pt x="220" y="933"/>
                    </a:cubicBezTo>
                    <a:cubicBezTo>
                      <a:pt x="225" y="933"/>
                      <a:pt x="231" y="930"/>
                      <a:pt x="235" y="926"/>
                    </a:cubicBezTo>
                    <a:cubicBezTo>
                      <a:pt x="244" y="918"/>
                      <a:pt x="244" y="904"/>
                      <a:pt x="236" y="895"/>
                    </a:cubicBezTo>
                    <a:cubicBezTo>
                      <a:pt x="139" y="796"/>
                      <a:pt x="139" y="796"/>
                      <a:pt x="139" y="796"/>
                    </a:cubicBezTo>
                    <a:cubicBezTo>
                      <a:pt x="131" y="787"/>
                      <a:pt x="117" y="787"/>
                      <a:pt x="108" y="796"/>
                    </a:cubicBezTo>
                    <a:cubicBezTo>
                      <a:pt x="9" y="892"/>
                      <a:pt x="9" y="892"/>
                      <a:pt x="9" y="892"/>
                    </a:cubicBezTo>
                    <a:cubicBezTo>
                      <a:pt x="0" y="901"/>
                      <a:pt x="0" y="915"/>
                      <a:pt x="9" y="923"/>
                    </a:cubicBezTo>
                    <a:cubicBezTo>
                      <a:pt x="17" y="932"/>
                      <a:pt x="31" y="932"/>
                      <a:pt x="40" y="924"/>
                    </a:cubicBezTo>
                    <a:cubicBezTo>
                      <a:pt x="100" y="865"/>
                      <a:pt x="100" y="865"/>
                      <a:pt x="100" y="865"/>
                    </a:cubicBezTo>
                    <a:cubicBezTo>
                      <a:pt x="104" y="1057"/>
                      <a:pt x="172" y="1245"/>
                      <a:pt x="293" y="1394"/>
                    </a:cubicBezTo>
                    <a:cubicBezTo>
                      <a:pt x="416" y="1545"/>
                      <a:pt x="589" y="1652"/>
                      <a:pt x="778" y="1694"/>
                    </a:cubicBezTo>
                    <a:cubicBezTo>
                      <a:pt x="780" y="1694"/>
                      <a:pt x="781" y="1694"/>
                      <a:pt x="783" y="1694"/>
                    </a:cubicBezTo>
                    <a:cubicBezTo>
                      <a:pt x="793" y="1694"/>
                      <a:pt x="802" y="1687"/>
                      <a:pt x="804" y="1677"/>
                    </a:cubicBezTo>
                    <a:cubicBezTo>
                      <a:pt x="807" y="1665"/>
                      <a:pt x="799" y="1653"/>
                      <a:pt x="788" y="1651"/>
                    </a:cubicBezTo>
                    <a:close/>
                    <a:moveTo>
                      <a:pt x="953" y="1306"/>
                    </a:moveTo>
                    <a:cubicBezTo>
                      <a:pt x="953" y="1098"/>
                      <a:pt x="953" y="1098"/>
                      <a:pt x="953" y="1098"/>
                    </a:cubicBezTo>
                    <a:cubicBezTo>
                      <a:pt x="953" y="1094"/>
                      <a:pt x="950" y="1091"/>
                      <a:pt x="947" y="1091"/>
                    </a:cubicBezTo>
                    <a:cubicBezTo>
                      <a:pt x="804" y="1091"/>
                      <a:pt x="804" y="1091"/>
                      <a:pt x="804" y="1091"/>
                    </a:cubicBezTo>
                    <a:cubicBezTo>
                      <a:pt x="798" y="1091"/>
                      <a:pt x="794" y="1096"/>
                      <a:pt x="794" y="1101"/>
                    </a:cubicBezTo>
                    <a:cubicBezTo>
                      <a:pt x="794" y="1303"/>
                      <a:pt x="794" y="1303"/>
                      <a:pt x="794" y="1303"/>
                    </a:cubicBezTo>
                    <a:cubicBezTo>
                      <a:pt x="794" y="1308"/>
                      <a:pt x="798" y="1313"/>
                      <a:pt x="804" y="1313"/>
                    </a:cubicBezTo>
                    <a:cubicBezTo>
                      <a:pt x="947" y="1313"/>
                      <a:pt x="947" y="1313"/>
                      <a:pt x="947" y="1313"/>
                    </a:cubicBezTo>
                    <a:cubicBezTo>
                      <a:pt x="950" y="1313"/>
                      <a:pt x="953" y="1310"/>
                      <a:pt x="953" y="1306"/>
                    </a:cubicBezTo>
                    <a:close/>
                    <a:moveTo>
                      <a:pt x="1138" y="1306"/>
                    </a:moveTo>
                    <a:cubicBezTo>
                      <a:pt x="1138" y="1098"/>
                      <a:pt x="1138" y="1098"/>
                      <a:pt x="1138" y="1098"/>
                    </a:cubicBezTo>
                    <a:cubicBezTo>
                      <a:pt x="1138" y="1094"/>
                      <a:pt x="1135" y="1091"/>
                      <a:pt x="1132" y="1091"/>
                    </a:cubicBezTo>
                    <a:cubicBezTo>
                      <a:pt x="989" y="1091"/>
                      <a:pt x="989" y="1091"/>
                      <a:pt x="989" y="1091"/>
                    </a:cubicBezTo>
                    <a:cubicBezTo>
                      <a:pt x="983" y="1091"/>
                      <a:pt x="979" y="1096"/>
                      <a:pt x="979" y="1101"/>
                    </a:cubicBezTo>
                    <a:cubicBezTo>
                      <a:pt x="979" y="1303"/>
                      <a:pt x="979" y="1303"/>
                      <a:pt x="979" y="1303"/>
                    </a:cubicBezTo>
                    <a:cubicBezTo>
                      <a:pt x="979" y="1308"/>
                      <a:pt x="983" y="1313"/>
                      <a:pt x="989" y="1313"/>
                    </a:cubicBezTo>
                    <a:cubicBezTo>
                      <a:pt x="1132" y="1313"/>
                      <a:pt x="1132" y="1313"/>
                      <a:pt x="1132" y="1313"/>
                    </a:cubicBezTo>
                    <a:cubicBezTo>
                      <a:pt x="1135" y="1313"/>
                      <a:pt x="1138" y="1310"/>
                      <a:pt x="1138" y="1306"/>
                    </a:cubicBezTo>
                    <a:close/>
                    <a:moveTo>
                      <a:pt x="909" y="587"/>
                    </a:moveTo>
                    <a:cubicBezTo>
                      <a:pt x="1023" y="587"/>
                      <a:pt x="1023" y="587"/>
                      <a:pt x="1023" y="587"/>
                    </a:cubicBezTo>
                    <a:cubicBezTo>
                      <a:pt x="1027" y="587"/>
                      <a:pt x="1030" y="584"/>
                      <a:pt x="1030" y="581"/>
                    </a:cubicBezTo>
                    <a:cubicBezTo>
                      <a:pt x="1030" y="419"/>
                      <a:pt x="1030" y="419"/>
                      <a:pt x="1030" y="419"/>
                    </a:cubicBezTo>
                    <a:cubicBezTo>
                      <a:pt x="1030" y="414"/>
                      <a:pt x="1025" y="409"/>
                      <a:pt x="1020" y="409"/>
                    </a:cubicBezTo>
                    <a:cubicBezTo>
                      <a:pt x="912" y="409"/>
                      <a:pt x="912" y="409"/>
                      <a:pt x="912" y="409"/>
                    </a:cubicBezTo>
                    <a:cubicBezTo>
                      <a:pt x="907" y="409"/>
                      <a:pt x="902" y="414"/>
                      <a:pt x="902" y="419"/>
                    </a:cubicBezTo>
                    <a:cubicBezTo>
                      <a:pt x="902" y="581"/>
                      <a:pt x="902" y="581"/>
                      <a:pt x="902" y="581"/>
                    </a:cubicBezTo>
                    <a:cubicBezTo>
                      <a:pt x="902" y="584"/>
                      <a:pt x="905" y="587"/>
                      <a:pt x="909" y="587"/>
                    </a:cubicBezTo>
                    <a:close/>
                    <a:moveTo>
                      <a:pt x="909" y="800"/>
                    </a:moveTo>
                    <a:cubicBezTo>
                      <a:pt x="1023" y="800"/>
                      <a:pt x="1023" y="800"/>
                      <a:pt x="1023" y="800"/>
                    </a:cubicBezTo>
                    <a:cubicBezTo>
                      <a:pt x="1027" y="800"/>
                      <a:pt x="1030" y="797"/>
                      <a:pt x="1030" y="794"/>
                    </a:cubicBezTo>
                    <a:cubicBezTo>
                      <a:pt x="1030" y="632"/>
                      <a:pt x="1030" y="632"/>
                      <a:pt x="1030" y="632"/>
                    </a:cubicBezTo>
                    <a:cubicBezTo>
                      <a:pt x="1030" y="626"/>
                      <a:pt x="1025" y="622"/>
                      <a:pt x="1020" y="622"/>
                    </a:cubicBezTo>
                    <a:cubicBezTo>
                      <a:pt x="912" y="622"/>
                      <a:pt x="912" y="622"/>
                      <a:pt x="912" y="622"/>
                    </a:cubicBezTo>
                    <a:cubicBezTo>
                      <a:pt x="907" y="622"/>
                      <a:pt x="902" y="626"/>
                      <a:pt x="902" y="632"/>
                    </a:cubicBezTo>
                    <a:cubicBezTo>
                      <a:pt x="902" y="794"/>
                      <a:pt x="902" y="794"/>
                      <a:pt x="902" y="794"/>
                    </a:cubicBezTo>
                    <a:cubicBezTo>
                      <a:pt x="902" y="797"/>
                      <a:pt x="905" y="800"/>
                      <a:pt x="909" y="800"/>
                    </a:cubicBezTo>
                    <a:close/>
                    <a:moveTo>
                      <a:pt x="735" y="587"/>
                    </a:moveTo>
                    <a:cubicBezTo>
                      <a:pt x="850" y="587"/>
                      <a:pt x="850" y="587"/>
                      <a:pt x="850" y="587"/>
                    </a:cubicBezTo>
                    <a:cubicBezTo>
                      <a:pt x="853" y="587"/>
                      <a:pt x="856" y="584"/>
                      <a:pt x="856" y="581"/>
                    </a:cubicBezTo>
                    <a:cubicBezTo>
                      <a:pt x="856" y="419"/>
                      <a:pt x="856" y="419"/>
                      <a:pt x="856" y="419"/>
                    </a:cubicBezTo>
                    <a:cubicBezTo>
                      <a:pt x="856" y="414"/>
                      <a:pt x="852" y="409"/>
                      <a:pt x="846" y="409"/>
                    </a:cubicBezTo>
                    <a:cubicBezTo>
                      <a:pt x="739" y="409"/>
                      <a:pt x="739" y="409"/>
                      <a:pt x="739" y="409"/>
                    </a:cubicBezTo>
                    <a:cubicBezTo>
                      <a:pt x="733" y="409"/>
                      <a:pt x="729" y="414"/>
                      <a:pt x="729" y="419"/>
                    </a:cubicBezTo>
                    <a:cubicBezTo>
                      <a:pt x="729" y="581"/>
                      <a:pt x="729" y="581"/>
                      <a:pt x="729" y="581"/>
                    </a:cubicBezTo>
                    <a:cubicBezTo>
                      <a:pt x="729" y="584"/>
                      <a:pt x="732" y="587"/>
                      <a:pt x="735" y="587"/>
                    </a:cubicBezTo>
                    <a:close/>
                    <a:moveTo>
                      <a:pt x="735" y="800"/>
                    </a:moveTo>
                    <a:cubicBezTo>
                      <a:pt x="850" y="800"/>
                      <a:pt x="850" y="800"/>
                      <a:pt x="850" y="800"/>
                    </a:cubicBezTo>
                    <a:cubicBezTo>
                      <a:pt x="853" y="800"/>
                      <a:pt x="856" y="797"/>
                      <a:pt x="856" y="794"/>
                    </a:cubicBezTo>
                    <a:cubicBezTo>
                      <a:pt x="856" y="632"/>
                      <a:pt x="856" y="632"/>
                      <a:pt x="856" y="632"/>
                    </a:cubicBezTo>
                    <a:cubicBezTo>
                      <a:pt x="856" y="626"/>
                      <a:pt x="852" y="622"/>
                      <a:pt x="846" y="622"/>
                    </a:cubicBezTo>
                    <a:cubicBezTo>
                      <a:pt x="739" y="622"/>
                      <a:pt x="739" y="622"/>
                      <a:pt x="739" y="622"/>
                    </a:cubicBezTo>
                    <a:cubicBezTo>
                      <a:pt x="733" y="622"/>
                      <a:pt x="729" y="626"/>
                      <a:pt x="729" y="632"/>
                    </a:cubicBezTo>
                    <a:cubicBezTo>
                      <a:pt x="729" y="794"/>
                      <a:pt x="729" y="794"/>
                      <a:pt x="729" y="794"/>
                    </a:cubicBezTo>
                    <a:cubicBezTo>
                      <a:pt x="729" y="797"/>
                      <a:pt x="732" y="800"/>
                      <a:pt x="735" y="800"/>
                    </a:cubicBezTo>
                    <a:close/>
                    <a:moveTo>
                      <a:pt x="1082" y="587"/>
                    </a:moveTo>
                    <a:cubicBezTo>
                      <a:pt x="1197" y="587"/>
                      <a:pt x="1197" y="587"/>
                      <a:pt x="1197" y="587"/>
                    </a:cubicBezTo>
                    <a:cubicBezTo>
                      <a:pt x="1200" y="587"/>
                      <a:pt x="1203" y="584"/>
                      <a:pt x="1203" y="581"/>
                    </a:cubicBezTo>
                    <a:cubicBezTo>
                      <a:pt x="1203" y="419"/>
                      <a:pt x="1203" y="419"/>
                      <a:pt x="1203" y="419"/>
                    </a:cubicBezTo>
                    <a:cubicBezTo>
                      <a:pt x="1203" y="414"/>
                      <a:pt x="1199" y="409"/>
                      <a:pt x="1193" y="409"/>
                    </a:cubicBezTo>
                    <a:cubicBezTo>
                      <a:pt x="1086" y="409"/>
                      <a:pt x="1086" y="409"/>
                      <a:pt x="1086" y="409"/>
                    </a:cubicBezTo>
                    <a:cubicBezTo>
                      <a:pt x="1080" y="409"/>
                      <a:pt x="1076" y="414"/>
                      <a:pt x="1076" y="419"/>
                    </a:cubicBezTo>
                    <a:cubicBezTo>
                      <a:pt x="1076" y="581"/>
                      <a:pt x="1076" y="581"/>
                      <a:pt x="1076" y="581"/>
                    </a:cubicBezTo>
                    <a:cubicBezTo>
                      <a:pt x="1076" y="584"/>
                      <a:pt x="1079" y="587"/>
                      <a:pt x="1082" y="587"/>
                    </a:cubicBezTo>
                    <a:close/>
                    <a:moveTo>
                      <a:pt x="1082" y="800"/>
                    </a:moveTo>
                    <a:cubicBezTo>
                      <a:pt x="1197" y="800"/>
                      <a:pt x="1197" y="800"/>
                      <a:pt x="1197" y="800"/>
                    </a:cubicBezTo>
                    <a:cubicBezTo>
                      <a:pt x="1200" y="800"/>
                      <a:pt x="1203" y="797"/>
                      <a:pt x="1203" y="794"/>
                    </a:cubicBezTo>
                    <a:cubicBezTo>
                      <a:pt x="1203" y="632"/>
                      <a:pt x="1203" y="632"/>
                      <a:pt x="1203" y="632"/>
                    </a:cubicBezTo>
                    <a:cubicBezTo>
                      <a:pt x="1203" y="626"/>
                      <a:pt x="1199" y="622"/>
                      <a:pt x="1193" y="622"/>
                    </a:cubicBezTo>
                    <a:cubicBezTo>
                      <a:pt x="1086" y="622"/>
                      <a:pt x="1086" y="622"/>
                      <a:pt x="1086" y="622"/>
                    </a:cubicBezTo>
                    <a:cubicBezTo>
                      <a:pt x="1080" y="622"/>
                      <a:pt x="1076" y="626"/>
                      <a:pt x="1076" y="632"/>
                    </a:cubicBezTo>
                    <a:cubicBezTo>
                      <a:pt x="1076" y="794"/>
                      <a:pt x="1076" y="794"/>
                      <a:pt x="1076" y="794"/>
                    </a:cubicBezTo>
                    <a:cubicBezTo>
                      <a:pt x="1076" y="797"/>
                      <a:pt x="1079" y="800"/>
                      <a:pt x="1082" y="800"/>
                    </a:cubicBezTo>
                    <a:close/>
                    <a:moveTo>
                      <a:pt x="909" y="1013"/>
                    </a:moveTo>
                    <a:cubicBezTo>
                      <a:pt x="1023" y="1013"/>
                      <a:pt x="1023" y="1013"/>
                      <a:pt x="1023" y="1013"/>
                    </a:cubicBezTo>
                    <a:cubicBezTo>
                      <a:pt x="1027" y="1013"/>
                      <a:pt x="1030" y="1010"/>
                      <a:pt x="1030" y="1007"/>
                    </a:cubicBezTo>
                    <a:cubicBezTo>
                      <a:pt x="1030" y="845"/>
                      <a:pt x="1030" y="845"/>
                      <a:pt x="1030" y="845"/>
                    </a:cubicBezTo>
                    <a:cubicBezTo>
                      <a:pt x="1030" y="839"/>
                      <a:pt x="1025" y="835"/>
                      <a:pt x="1020" y="835"/>
                    </a:cubicBezTo>
                    <a:cubicBezTo>
                      <a:pt x="912" y="835"/>
                      <a:pt x="912" y="835"/>
                      <a:pt x="912" y="835"/>
                    </a:cubicBezTo>
                    <a:cubicBezTo>
                      <a:pt x="907" y="835"/>
                      <a:pt x="902" y="839"/>
                      <a:pt x="902" y="845"/>
                    </a:cubicBezTo>
                    <a:cubicBezTo>
                      <a:pt x="902" y="1007"/>
                      <a:pt x="902" y="1007"/>
                      <a:pt x="902" y="1007"/>
                    </a:cubicBezTo>
                    <a:cubicBezTo>
                      <a:pt x="902" y="1010"/>
                      <a:pt x="905" y="1013"/>
                      <a:pt x="909" y="1013"/>
                    </a:cubicBezTo>
                    <a:close/>
                    <a:moveTo>
                      <a:pt x="735" y="1013"/>
                    </a:moveTo>
                    <a:cubicBezTo>
                      <a:pt x="850" y="1013"/>
                      <a:pt x="850" y="1013"/>
                      <a:pt x="850" y="1013"/>
                    </a:cubicBezTo>
                    <a:cubicBezTo>
                      <a:pt x="853" y="1013"/>
                      <a:pt x="856" y="1010"/>
                      <a:pt x="856" y="1007"/>
                    </a:cubicBezTo>
                    <a:cubicBezTo>
                      <a:pt x="856" y="845"/>
                      <a:pt x="856" y="845"/>
                      <a:pt x="856" y="845"/>
                    </a:cubicBezTo>
                    <a:cubicBezTo>
                      <a:pt x="856" y="839"/>
                      <a:pt x="852" y="835"/>
                      <a:pt x="846" y="835"/>
                    </a:cubicBezTo>
                    <a:cubicBezTo>
                      <a:pt x="739" y="835"/>
                      <a:pt x="739" y="835"/>
                      <a:pt x="739" y="835"/>
                    </a:cubicBezTo>
                    <a:cubicBezTo>
                      <a:pt x="733" y="835"/>
                      <a:pt x="729" y="839"/>
                      <a:pt x="729" y="845"/>
                    </a:cubicBezTo>
                    <a:cubicBezTo>
                      <a:pt x="729" y="1007"/>
                      <a:pt x="729" y="1007"/>
                      <a:pt x="729" y="1007"/>
                    </a:cubicBezTo>
                    <a:cubicBezTo>
                      <a:pt x="729" y="1010"/>
                      <a:pt x="732" y="1013"/>
                      <a:pt x="735" y="1013"/>
                    </a:cubicBezTo>
                    <a:close/>
                    <a:moveTo>
                      <a:pt x="1082" y="1013"/>
                    </a:moveTo>
                    <a:cubicBezTo>
                      <a:pt x="1197" y="1013"/>
                      <a:pt x="1197" y="1013"/>
                      <a:pt x="1197" y="1013"/>
                    </a:cubicBezTo>
                    <a:cubicBezTo>
                      <a:pt x="1200" y="1013"/>
                      <a:pt x="1203" y="1010"/>
                      <a:pt x="1203" y="1007"/>
                    </a:cubicBezTo>
                    <a:cubicBezTo>
                      <a:pt x="1203" y="845"/>
                      <a:pt x="1203" y="845"/>
                      <a:pt x="1203" y="845"/>
                    </a:cubicBezTo>
                    <a:cubicBezTo>
                      <a:pt x="1203" y="839"/>
                      <a:pt x="1199" y="835"/>
                      <a:pt x="1193" y="835"/>
                    </a:cubicBezTo>
                    <a:cubicBezTo>
                      <a:pt x="1086" y="835"/>
                      <a:pt x="1086" y="835"/>
                      <a:pt x="1086" y="835"/>
                    </a:cubicBezTo>
                    <a:cubicBezTo>
                      <a:pt x="1080" y="835"/>
                      <a:pt x="1076" y="839"/>
                      <a:pt x="1076" y="845"/>
                    </a:cubicBezTo>
                    <a:cubicBezTo>
                      <a:pt x="1076" y="1007"/>
                      <a:pt x="1076" y="1007"/>
                      <a:pt x="1076" y="1007"/>
                    </a:cubicBezTo>
                    <a:cubicBezTo>
                      <a:pt x="1076" y="1010"/>
                      <a:pt x="1079" y="1013"/>
                      <a:pt x="1082" y="1013"/>
                    </a:cubicBezTo>
                    <a:close/>
                  </a:path>
                </a:pathLst>
              </a:custGeom>
              <a:solidFill>
                <a:srgbClr val="00AEEF">
                  <a:lumMod val="100000"/>
                </a:srgbClr>
              </a:solidFill>
              <a:ln>
                <a:noFill/>
              </a:ln>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35" name="Freeform 71">
                <a:extLst>
                  <a:ext uri="{FF2B5EF4-FFF2-40B4-BE49-F238E27FC236}">
                    <a16:creationId xmlns:a16="http://schemas.microsoft.com/office/drawing/2014/main" id="{1BC65562-712A-4D80-9A2E-3AB39E84DA79}"/>
                  </a:ext>
                </a:extLst>
              </p:cNvPr>
              <p:cNvSpPr>
                <a:spLocks noEditPoints="1"/>
              </p:cNvSpPr>
              <p:nvPr/>
            </p:nvSpPr>
            <p:spPr bwMode="auto">
              <a:xfrm>
                <a:off x="5489448" y="2741032"/>
                <a:ext cx="1211475" cy="1375937"/>
              </a:xfrm>
              <a:custGeom>
                <a:avLst/>
                <a:gdLst>
                  <a:gd name="T0" fmla="*/ 46 w 1697"/>
                  <a:gd name="T1" fmla="*/ 787 h 1928"/>
                  <a:gd name="T2" fmla="*/ 20 w 1697"/>
                  <a:gd name="T3" fmla="*/ 804 h 1928"/>
                  <a:gd name="T4" fmla="*/ 303 w 1697"/>
                  <a:gd name="T5" fmla="*/ 293 h 1928"/>
                  <a:gd name="T6" fmla="*/ 773 w 1697"/>
                  <a:gd name="T7" fmla="*/ 39 h 1928"/>
                  <a:gd name="T8" fmla="*/ 804 w 1697"/>
                  <a:gd name="T9" fmla="*/ 9 h 1928"/>
                  <a:gd name="T10" fmla="*/ 901 w 1697"/>
                  <a:gd name="T11" fmla="*/ 139 h 1928"/>
                  <a:gd name="T12" fmla="*/ 786 w 1697"/>
                  <a:gd name="T13" fmla="*/ 241 h 1928"/>
                  <a:gd name="T14" fmla="*/ 771 w 1697"/>
                  <a:gd name="T15" fmla="*/ 204 h 1928"/>
                  <a:gd name="T16" fmla="*/ 1285 w 1697"/>
                  <a:gd name="T17" fmla="*/ 1557 h 1928"/>
                  <a:gd name="T18" fmla="*/ 1271 w 1697"/>
                  <a:gd name="T19" fmla="*/ 1491 h 1928"/>
                  <a:gd name="T20" fmla="*/ 1230 w 1697"/>
                  <a:gd name="T21" fmla="*/ 1472 h 1928"/>
                  <a:gd name="T22" fmla="*/ 482 w 1697"/>
                  <a:gd name="T23" fmla="*/ 1458 h 1928"/>
                  <a:gd name="T24" fmla="*/ 468 w 1697"/>
                  <a:gd name="T25" fmla="*/ 1491 h 1928"/>
                  <a:gd name="T26" fmla="*/ 413 w 1697"/>
                  <a:gd name="T27" fmla="*/ 1504 h 1928"/>
                  <a:gd name="T28" fmla="*/ 427 w 1697"/>
                  <a:gd name="T29" fmla="*/ 1571 h 1928"/>
                  <a:gd name="T30" fmla="*/ 1285 w 1697"/>
                  <a:gd name="T31" fmla="*/ 1557 h 1928"/>
                  <a:gd name="T32" fmla="*/ 1131 w 1697"/>
                  <a:gd name="T33" fmla="*/ 339 h 1928"/>
                  <a:gd name="T34" fmla="*/ 1179 w 1697"/>
                  <a:gd name="T35" fmla="*/ 392 h 1928"/>
                  <a:gd name="T36" fmla="*/ 1233 w 1697"/>
                  <a:gd name="T37" fmla="*/ 414 h 1928"/>
                  <a:gd name="T38" fmla="*/ 1212 w 1697"/>
                  <a:gd name="T39" fmla="*/ 477 h 1928"/>
                  <a:gd name="T40" fmla="*/ 1168 w 1697"/>
                  <a:gd name="T41" fmla="*/ 1430 h 1928"/>
                  <a:gd name="T42" fmla="*/ 1179 w 1697"/>
                  <a:gd name="T43" fmla="*/ 436 h 1928"/>
                  <a:gd name="T44" fmla="*/ 530 w 1697"/>
                  <a:gd name="T45" fmla="*/ 455 h 1928"/>
                  <a:gd name="T46" fmla="*/ 486 w 1697"/>
                  <a:gd name="T47" fmla="*/ 1430 h 1928"/>
                  <a:gd name="T48" fmla="*/ 465 w 1697"/>
                  <a:gd name="T49" fmla="*/ 455 h 1928"/>
                  <a:gd name="T50" fmla="*/ 487 w 1697"/>
                  <a:gd name="T51" fmla="*/ 392 h 1928"/>
                  <a:gd name="T52" fmla="*/ 549 w 1697"/>
                  <a:gd name="T53" fmla="*/ 348 h 1928"/>
                  <a:gd name="T54" fmla="*/ 572 w 1697"/>
                  <a:gd name="T55" fmla="*/ 392 h 1928"/>
                  <a:gd name="T56" fmla="*/ 1119 w 1697"/>
                  <a:gd name="T57" fmla="*/ 383 h 1928"/>
                  <a:gd name="T58" fmla="*/ 572 w 1697"/>
                  <a:gd name="T59" fmla="*/ 392 h 1928"/>
                  <a:gd name="T60" fmla="*/ 1651 w 1697"/>
                  <a:gd name="T61" fmla="*/ 1143 h 1928"/>
                  <a:gd name="T62" fmla="*/ 926 w 1697"/>
                  <a:gd name="T63" fmla="*/ 1727 h 1928"/>
                  <a:gd name="T64" fmla="*/ 896 w 1697"/>
                  <a:gd name="T65" fmla="*/ 1695 h 1928"/>
                  <a:gd name="T66" fmla="*/ 796 w 1697"/>
                  <a:gd name="T67" fmla="*/ 1823 h 1928"/>
                  <a:gd name="T68" fmla="*/ 908 w 1697"/>
                  <a:gd name="T69" fmla="*/ 1928 h 1928"/>
                  <a:gd name="T70" fmla="*/ 924 w 1697"/>
                  <a:gd name="T71" fmla="*/ 1891 h 1928"/>
                  <a:gd name="T72" fmla="*/ 1394 w 1697"/>
                  <a:gd name="T73" fmla="*/ 1637 h 1928"/>
                  <a:gd name="T74" fmla="*/ 1677 w 1697"/>
                  <a:gd name="T75" fmla="*/ 1126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97" h="1928">
                    <a:moveTo>
                      <a:pt x="832" y="144"/>
                    </a:moveTo>
                    <a:cubicBezTo>
                      <a:pt x="457" y="151"/>
                      <a:pt x="127" y="419"/>
                      <a:pt x="46" y="787"/>
                    </a:cubicBezTo>
                    <a:cubicBezTo>
                      <a:pt x="44" y="798"/>
                      <a:pt x="35" y="805"/>
                      <a:pt x="25" y="805"/>
                    </a:cubicBezTo>
                    <a:cubicBezTo>
                      <a:pt x="23" y="805"/>
                      <a:pt x="21" y="804"/>
                      <a:pt x="20" y="804"/>
                    </a:cubicBezTo>
                    <a:cubicBezTo>
                      <a:pt x="8" y="801"/>
                      <a:pt x="0" y="790"/>
                      <a:pt x="3" y="778"/>
                    </a:cubicBezTo>
                    <a:cubicBezTo>
                      <a:pt x="45" y="588"/>
                      <a:pt x="151" y="416"/>
                      <a:pt x="303" y="293"/>
                    </a:cubicBezTo>
                    <a:cubicBezTo>
                      <a:pt x="452" y="172"/>
                      <a:pt x="639" y="103"/>
                      <a:pt x="832" y="100"/>
                    </a:cubicBezTo>
                    <a:cubicBezTo>
                      <a:pt x="773" y="39"/>
                      <a:pt x="773" y="39"/>
                      <a:pt x="773" y="39"/>
                    </a:cubicBezTo>
                    <a:cubicBezTo>
                      <a:pt x="764" y="31"/>
                      <a:pt x="765" y="17"/>
                      <a:pt x="773" y="8"/>
                    </a:cubicBezTo>
                    <a:cubicBezTo>
                      <a:pt x="782" y="0"/>
                      <a:pt x="796" y="0"/>
                      <a:pt x="804" y="9"/>
                    </a:cubicBezTo>
                    <a:cubicBezTo>
                      <a:pt x="901" y="108"/>
                      <a:pt x="901" y="108"/>
                      <a:pt x="901" y="108"/>
                    </a:cubicBezTo>
                    <a:cubicBezTo>
                      <a:pt x="909" y="116"/>
                      <a:pt x="909" y="130"/>
                      <a:pt x="901" y="139"/>
                    </a:cubicBezTo>
                    <a:cubicBezTo>
                      <a:pt x="801" y="235"/>
                      <a:pt x="801" y="235"/>
                      <a:pt x="801" y="235"/>
                    </a:cubicBezTo>
                    <a:cubicBezTo>
                      <a:pt x="797" y="239"/>
                      <a:pt x="792" y="241"/>
                      <a:pt x="786" y="241"/>
                    </a:cubicBezTo>
                    <a:cubicBezTo>
                      <a:pt x="780" y="241"/>
                      <a:pt x="775" y="239"/>
                      <a:pt x="770" y="235"/>
                    </a:cubicBezTo>
                    <a:cubicBezTo>
                      <a:pt x="762" y="226"/>
                      <a:pt x="762" y="212"/>
                      <a:pt x="771" y="204"/>
                    </a:cubicBezTo>
                    <a:lnTo>
                      <a:pt x="832" y="144"/>
                    </a:lnTo>
                    <a:close/>
                    <a:moveTo>
                      <a:pt x="1285" y="1557"/>
                    </a:moveTo>
                    <a:cubicBezTo>
                      <a:pt x="1285" y="1504"/>
                      <a:pt x="1285" y="1504"/>
                      <a:pt x="1285" y="1504"/>
                    </a:cubicBezTo>
                    <a:cubicBezTo>
                      <a:pt x="1285" y="1497"/>
                      <a:pt x="1279" y="1491"/>
                      <a:pt x="1271" y="1491"/>
                    </a:cubicBezTo>
                    <a:cubicBezTo>
                      <a:pt x="1230" y="1491"/>
                      <a:pt x="1230" y="1491"/>
                      <a:pt x="1230" y="1491"/>
                    </a:cubicBezTo>
                    <a:cubicBezTo>
                      <a:pt x="1230" y="1472"/>
                      <a:pt x="1230" y="1472"/>
                      <a:pt x="1230" y="1472"/>
                    </a:cubicBezTo>
                    <a:cubicBezTo>
                      <a:pt x="1230" y="1464"/>
                      <a:pt x="1224" y="1458"/>
                      <a:pt x="1216" y="1458"/>
                    </a:cubicBezTo>
                    <a:cubicBezTo>
                      <a:pt x="482" y="1458"/>
                      <a:pt x="482" y="1458"/>
                      <a:pt x="482" y="1458"/>
                    </a:cubicBezTo>
                    <a:cubicBezTo>
                      <a:pt x="474" y="1458"/>
                      <a:pt x="468" y="1464"/>
                      <a:pt x="468" y="1472"/>
                    </a:cubicBezTo>
                    <a:cubicBezTo>
                      <a:pt x="468" y="1491"/>
                      <a:pt x="468" y="1491"/>
                      <a:pt x="468" y="1491"/>
                    </a:cubicBezTo>
                    <a:cubicBezTo>
                      <a:pt x="427" y="1491"/>
                      <a:pt x="427" y="1491"/>
                      <a:pt x="427" y="1491"/>
                    </a:cubicBezTo>
                    <a:cubicBezTo>
                      <a:pt x="419" y="1491"/>
                      <a:pt x="413" y="1497"/>
                      <a:pt x="413" y="1504"/>
                    </a:cubicBezTo>
                    <a:cubicBezTo>
                      <a:pt x="413" y="1557"/>
                      <a:pt x="413" y="1557"/>
                      <a:pt x="413" y="1557"/>
                    </a:cubicBezTo>
                    <a:cubicBezTo>
                      <a:pt x="413" y="1565"/>
                      <a:pt x="419" y="1571"/>
                      <a:pt x="427" y="1571"/>
                    </a:cubicBezTo>
                    <a:cubicBezTo>
                      <a:pt x="1271" y="1571"/>
                      <a:pt x="1271" y="1571"/>
                      <a:pt x="1271" y="1571"/>
                    </a:cubicBezTo>
                    <a:cubicBezTo>
                      <a:pt x="1279" y="1571"/>
                      <a:pt x="1285" y="1565"/>
                      <a:pt x="1285" y="1557"/>
                    </a:cubicBezTo>
                    <a:close/>
                    <a:moveTo>
                      <a:pt x="567" y="339"/>
                    </a:moveTo>
                    <a:cubicBezTo>
                      <a:pt x="1131" y="339"/>
                      <a:pt x="1131" y="339"/>
                      <a:pt x="1131" y="339"/>
                    </a:cubicBezTo>
                    <a:cubicBezTo>
                      <a:pt x="1138" y="339"/>
                      <a:pt x="1145" y="342"/>
                      <a:pt x="1149" y="348"/>
                    </a:cubicBezTo>
                    <a:cubicBezTo>
                      <a:pt x="1179" y="392"/>
                      <a:pt x="1179" y="392"/>
                      <a:pt x="1179" y="392"/>
                    </a:cubicBezTo>
                    <a:cubicBezTo>
                      <a:pt x="1211" y="392"/>
                      <a:pt x="1211" y="392"/>
                      <a:pt x="1211" y="392"/>
                    </a:cubicBezTo>
                    <a:cubicBezTo>
                      <a:pt x="1223" y="392"/>
                      <a:pt x="1233" y="402"/>
                      <a:pt x="1233" y="414"/>
                    </a:cubicBezTo>
                    <a:cubicBezTo>
                      <a:pt x="1233" y="455"/>
                      <a:pt x="1233" y="455"/>
                      <a:pt x="1233" y="455"/>
                    </a:cubicBezTo>
                    <a:cubicBezTo>
                      <a:pt x="1233" y="467"/>
                      <a:pt x="1223" y="477"/>
                      <a:pt x="1212" y="477"/>
                    </a:cubicBezTo>
                    <a:cubicBezTo>
                      <a:pt x="1212" y="1430"/>
                      <a:pt x="1212" y="1430"/>
                      <a:pt x="1212" y="1430"/>
                    </a:cubicBezTo>
                    <a:cubicBezTo>
                      <a:pt x="1168" y="1430"/>
                      <a:pt x="1168" y="1430"/>
                      <a:pt x="1168" y="1430"/>
                    </a:cubicBezTo>
                    <a:cubicBezTo>
                      <a:pt x="1168" y="455"/>
                      <a:pt x="1168" y="455"/>
                      <a:pt x="1168" y="455"/>
                    </a:cubicBezTo>
                    <a:cubicBezTo>
                      <a:pt x="1168" y="447"/>
                      <a:pt x="1172" y="440"/>
                      <a:pt x="1179" y="436"/>
                    </a:cubicBezTo>
                    <a:cubicBezTo>
                      <a:pt x="519" y="436"/>
                      <a:pt x="519" y="436"/>
                      <a:pt x="519" y="436"/>
                    </a:cubicBezTo>
                    <a:cubicBezTo>
                      <a:pt x="526" y="440"/>
                      <a:pt x="530" y="447"/>
                      <a:pt x="530" y="455"/>
                    </a:cubicBezTo>
                    <a:cubicBezTo>
                      <a:pt x="530" y="1430"/>
                      <a:pt x="530" y="1430"/>
                      <a:pt x="530" y="1430"/>
                    </a:cubicBezTo>
                    <a:cubicBezTo>
                      <a:pt x="486" y="1430"/>
                      <a:pt x="486" y="1430"/>
                      <a:pt x="486" y="1430"/>
                    </a:cubicBezTo>
                    <a:cubicBezTo>
                      <a:pt x="486" y="477"/>
                      <a:pt x="486" y="477"/>
                      <a:pt x="486" y="477"/>
                    </a:cubicBezTo>
                    <a:cubicBezTo>
                      <a:pt x="475" y="477"/>
                      <a:pt x="465" y="467"/>
                      <a:pt x="465" y="455"/>
                    </a:cubicBezTo>
                    <a:cubicBezTo>
                      <a:pt x="465" y="414"/>
                      <a:pt x="465" y="414"/>
                      <a:pt x="465" y="414"/>
                    </a:cubicBezTo>
                    <a:cubicBezTo>
                      <a:pt x="465" y="402"/>
                      <a:pt x="475" y="392"/>
                      <a:pt x="487" y="392"/>
                    </a:cubicBezTo>
                    <a:cubicBezTo>
                      <a:pt x="519" y="392"/>
                      <a:pt x="519" y="392"/>
                      <a:pt x="519" y="392"/>
                    </a:cubicBezTo>
                    <a:cubicBezTo>
                      <a:pt x="549" y="348"/>
                      <a:pt x="549" y="348"/>
                      <a:pt x="549" y="348"/>
                    </a:cubicBezTo>
                    <a:cubicBezTo>
                      <a:pt x="553" y="342"/>
                      <a:pt x="560" y="339"/>
                      <a:pt x="567" y="339"/>
                    </a:cubicBezTo>
                    <a:close/>
                    <a:moveTo>
                      <a:pt x="572" y="392"/>
                    </a:moveTo>
                    <a:cubicBezTo>
                      <a:pt x="1126" y="392"/>
                      <a:pt x="1126" y="392"/>
                      <a:pt x="1126" y="392"/>
                    </a:cubicBezTo>
                    <a:cubicBezTo>
                      <a:pt x="1119" y="383"/>
                      <a:pt x="1119" y="383"/>
                      <a:pt x="1119" y="383"/>
                    </a:cubicBezTo>
                    <a:cubicBezTo>
                      <a:pt x="579" y="383"/>
                      <a:pt x="579" y="383"/>
                      <a:pt x="579" y="383"/>
                    </a:cubicBezTo>
                    <a:lnTo>
                      <a:pt x="572" y="392"/>
                    </a:lnTo>
                    <a:close/>
                    <a:moveTo>
                      <a:pt x="1677" y="1126"/>
                    </a:moveTo>
                    <a:cubicBezTo>
                      <a:pt x="1665" y="1124"/>
                      <a:pt x="1654" y="1131"/>
                      <a:pt x="1651" y="1143"/>
                    </a:cubicBezTo>
                    <a:cubicBezTo>
                      <a:pt x="1570" y="1511"/>
                      <a:pt x="1240" y="1779"/>
                      <a:pt x="864" y="1787"/>
                    </a:cubicBezTo>
                    <a:cubicBezTo>
                      <a:pt x="926" y="1727"/>
                      <a:pt x="926" y="1727"/>
                      <a:pt x="926" y="1727"/>
                    </a:cubicBezTo>
                    <a:cubicBezTo>
                      <a:pt x="935" y="1718"/>
                      <a:pt x="935" y="1704"/>
                      <a:pt x="927" y="1695"/>
                    </a:cubicBezTo>
                    <a:cubicBezTo>
                      <a:pt x="918" y="1687"/>
                      <a:pt x="904" y="1687"/>
                      <a:pt x="896" y="1695"/>
                    </a:cubicBezTo>
                    <a:cubicBezTo>
                      <a:pt x="796" y="1792"/>
                      <a:pt x="796" y="1792"/>
                      <a:pt x="796" y="1792"/>
                    </a:cubicBezTo>
                    <a:cubicBezTo>
                      <a:pt x="788" y="1800"/>
                      <a:pt x="788" y="1814"/>
                      <a:pt x="796" y="1823"/>
                    </a:cubicBezTo>
                    <a:cubicBezTo>
                      <a:pt x="893" y="1922"/>
                      <a:pt x="893" y="1922"/>
                      <a:pt x="893" y="1922"/>
                    </a:cubicBezTo>
                    <a:cubicBezTo>
                      <a:pt x="897" y="1926"/>
                      <a:pt x="903" y="1928"/>
                      <a:pt x="908" y="1928"/>
                    </a:cubicBezTo>
                    <a:cubicBezTo>
                      <a:pt x="914" y="1928"/>
                      <a:pt x="919" y="1926"/>
                      <a:pt x="924" y="1922"/>
                    </a:cubicBezTo>
                    <a:cubicBezTo>
                      <a:pt x="932" y="1914"/>
                      <a:pt x="933" y="1900"/>
                      <a:pt x="924" y="1891"/>
                    </a:cubicBezTo>
                    <a:cubicBezTo>
                      <a:pt x="865" y="1831"/>
                      <a:pt x="865" y="1831"/>
                      <a:pt x="865" y="1831"/>
                    </a:cubicBezTo>
                    <a:cubicBezTo>
                      <a:pt x="1058" y="1827"/>
                      <a:pt x="1245" y="1759"/>
                      <a:pt x="1394" y="1637"/>
                    </a:cubicBezTo>
                    <a:cubicBezTo>
                      <a:pt x="1546" y="1514"/>
                      <a:pt x="1652" y="1342"/>
                      <a:pt x="1694" y="1153"/>
                    </a:cubicBezTo>
                    <a:cubicBezTo>
                      <a:pt x="1697" y="1141"/>
                      <a:pt x="1689" y="1129"/>
                      <a:pt x="1677" y="1126"/>
                    </a:cubicBezTo>
                    <a:close/>
                  </a:path>
                </a:pathLst>
              </a:custGeom>
              <a:solidFill>
                <a:srgbClr val="005674">
                  <a:lumMod val="100000"/>
                </a:srgbClr>
              </a:solidFill>
              <a:ln>
                <a:noFill/>
              </a:ln>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grpSp>
      <p:sp>
        <p:nvSpPr>
          <p:cNvPr id="36" name="TextBox 35">
            <a:extLst>
              <a:ext uri="{FF2B5EF4-FFF2-40B4-BE49-F238E27FC236}">
                <a16:creationId xmlns:a16="http://schemas.microsoft.com/office/drawing/2014/main" id="{0EF731A8-C2EC-4C62-845D-4E80DA7B05C0}"/>
              </a:ext>
            </a:extLst>
          </p:cNvPr>
          <p:cNvSpPr txBox="1"/>
          <p:nvPr/>
        </p:nvSpPr>
        <p:spPr>
          <a:xfrm>
            <a:off x="6384324" y="1326506"/>
            <a:ext cx="4865568" cy="67710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lvl="0"/>
            <a:r>
              <a:rPr lang="en-US" sz="2200">
                <a:solidFill>
                  <a:schemeClr val="tx1"/>
                </a:solidFill>
              </a:rPr>
              <a:t>Microsoft Azure-powered online and offline platform, and Android app</a:t>
            </a:r>
          </a:p>
        </p:txBody>
      </p:sp>
      <p:sp>
        <p:nvSpPr>
          <p:cNvPr id="37" name="Oval 36">
            <a:extLst>
              <a:ext uri="{FF2B5EF4-FFF2-40B4-BE49-F238E27FC236}">
                <a16:creationId xmlns:a16="http://schemas.microsoft.com/office/drawing/2014/main" id="{35940353-CC61-4351-90BA-5E15ECF4D1C7}"/>
              </a:ext>
            </a:extLst>
          </p:cNvPr>
          <p:cNvSpPr>
            <a:spLocks/>
          </p:cNvSpPr>
          <p:nvPr/>
        </p:nvSpPr>
        <p:spPr>
          <a:xfrm>
            <a:off x="4911028" y="1036622"/>
            <a:ext cx="1232719" cy="1232719"/>
          </a:xfrm>
          <a:prstGeom prst="ellipse">
            <a:avLst/>
          </a:prstGeom>
          <a:solidFill>
            <a:srgbClr val="FFFFFF"/>
          </a:solidFill>
          <a:ln w="38100">
            <a:gradFill flip="none" rotWithShape="1">
              <a:gsLst>
                <a:gs pos="0">
                  <a:srgbClr val="0082B0"/>
                </a:gs>
                <a:gs pos="100000">
                  <a:srgbClr val="00AEEF"/>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kern="0">
              <a:solidFill>
                <a:srgbClr val="77777A"/>
              </a:solidFill>
              <a:cs typeface="Arial"/>
            </a:endParaRPr>
          </a:p>
        </p:txBody>
      </p:sp>
      <p:grpSp>
        <p:nvGrpSpPr>
          <p:cNvPr id="38" name="Group 37">
            <a:extLst>
              <a:ext uri="{FF2B5EF4-FFF2-40B4-BE49-F238E27FC236}">
                <a16:creationId xmlns:a16="http://schemas.microsoft.com/office/drawing/2014/main" id="{F143EBCD-1C81-4064-B2D0-DFA06522C204}"/>
              </a:ext>
            </a:extLst>
          </p:cNvPr>
          <p:cNvGrpSpPr>
            <a:grpSpLocks noChangeAspect="1"/>
          </p:cNvGrpSpPr>
          <p:nvPr/>
        </p:nvGrpSpPr>
        <p:grpSpPr>
          <a:xfrm>
            <a:off x="5004870" y="1110733"/>
            <a:ext cx="1061557" cy="1061557"/>
            <a:chOff x="5273803" y="2606803"/>
            <a:chExt cx="1645920" cy="1645920"/>
          </a:xfrm>
        </p:grpSpPr>
        <p:sp>
          <p:nvSpPr>
            <p:cNvPr id="39" name="AutoShape 23">
              <a:extLst>
                <a:ext uri="{FF2B5EF4-FFF2-40B4-BE49-F238E27FC236}">
                  <a16:creationId xmlns:a16="http://schemas.microsoft.com/office/drawing/2014/main" id="{A0DB3523-DF70-4B2B-BD06-9E90220B164C}"/>
                </a:ext>
              </a:extLst>
            </p:cNvPr>
            <p:cNvSpPr>
              <a:spLocks noChangeAspect="1" noChangeArrowheads="1" noTextEdit="1"/>
            </p:cNvSpPr>
            <p:nvPr/>
          </p:nvSpPr>
          <p:spPr bwMode="auto">
            <a:xfrm>
              <a:off x="5273803" y="2606803"/>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0" name="Group 39">
              <a:extLst>
                <a:ext uri="{FF2B5EF4-FFF2-40B4-BE49-F238E27FC236}">
                  <a16:creationId xmlns:a16="http://schemas.microsoft.com/office/drawing/2014/main" id="{0D1F37E2-961C-4AD3-951C-E0DA7F8E888C}"/>
                </a:ext>
              </a:extLst>
            </p:cNvPr>
            <p:cNvGrpSpPr/>
            <p:nvPr/>
          </p:nvGrpSpPr>
          <p:grpSpPr>
            <a:xfrm>
              <a:off x="5484691" y="2758822"/>
              <a:ext cx="1224143" cy="1341882"/>
              <a:chOff x="5355525" y="2801969"/>
              <a:chExt cx="1522662" cy="1670659"/>
            </a:xfrm>
          </p:grpSpPr>
          <p:sp>
            <p:nvSpPr>
              <p:cNvPr id="41" name="Freeform 25">
                <a:extLst>
                  <a:ext uri="{FF2B5EF4-FFF2-40B4-BE49-F238E27FC236}">
                    <a16:creationId xmlns:a16="http://schemas.microsoft.com/office/drawing/2014/main" id="{8E59EB82-6CC3-4993-A525-899B000CF18C}"/>
                  </a:ext>
                </a:extLst>
              </p:cNvPr>
              <p:cNvSpPr>
                <a:spLocks noEditPoints="1"/>
              </p:cNvSpPr>
              <p:nvPr/>
            </p:nvSpPr>
            <p:spPr bwMode="auto">
              <a:xfrm>
                <a:off x="5355525" y="3100809"/>
                <a:ext cx="1522662" cy="1371819"/>
              </a:xfrm>
              <a:custGeom>
                <a:avLst/>
                <a:gdLst>
                  <a:gd name="T0" fmla="*/ 773 w 1714"/>
                  <a:gd name="T1" fmla="*/ 454 h 1542"/>
                  <a:gd name="T2" fmla="*/ 493 w 1714"/>
                  <a:gd name="T3" fmla="*/ 368 h 1542"/>
                  <a:gd name="T4" fmla="*/ 258 w 1714"/>
                  <a:gd name="T5" fmla="*/ 0 h 1542"/>
                  <a:gd name="T6" fmla="*/ 258 w 1714"/>
                  <a:gd name="T7" fmla="*/ 517 h 1542"/>
                  <a:gd name="T8" fmla="*/ 717 w 1714"/>
                  <a:gd name="T9" fmla="*/ 548 h 1542"/>
                  <a:gd name="T10" fmla="*/ 747 w 1714"/>
                  <a:gd name="T11" fmla="*/ 540 h 1542"/>
                  <a:gd name="T12" fmla="*/ 794 w 1714"/>
                  <a:gd name="T13" fmla="*/ 492 h 1542"/>
                  <a:gd name="T14" fmla="*/ 402 w 1714"/>
                  <a:gd name="T15" fmla="*/ 273 h 1542"/>
                  <a:gd name="T16" fmla="*/ 373 w 1714"/>
                  <a:gd name="T17" fmla="*/ 331 h 1542"/>
                  <a:gd name="T18" fmla="*/ 363 w 1714"/>
                  <a:gd name="T19" fmla="*/ 367 h 1542"/>
                  <a:gd name="T20" fmla="*/ 301 w 1714"/>
                  <a:gd name="T21" fmla="*/ 423 h 1542"/>
                  <a:gd name="T22" fmla="*/ 294 w 1714"/>
                  <a:gd name="T23" fmla="*/ 430 h 1542"/>
                  <a:gd name="T24" fmla="*/ 169 w 1714"/>
                  <a:gd name="T25" fmla="*/ 402 h 1542"/>
                  <a:gd name="T26" fmla="*/ 125 w 1714"/>
                  <a:gd name="T27" fmla="*/ 167 h 1542"/>
                  <a:gd name="T28" fmla="*/ 385 w 1714"/>
                  <a:gd name="T29" fmla="*/ 107 h 1542"/>
                  <a:gd name="T30" fmla="*/ 364 w 1714"/>
                  <a:gd name="T31" fmla="*/ 151 h 1542"/>
                  <a:gd name="T32" fmla="*/ 364 w 1714"/>
                  <a:gd name="T33" fmla="*/ 186 h 1542"/>
                  <a:gd name="T34" fmla="*/ 372 w 1714"/>
                  <a:gd name="T35" fmla="*/ 218 h 1542"/>
                  <a:gd name="T36" fmla="*/ 387 w 1714"/>
                  <a:gd name="T37" fmla="*/ 246 h 1542"/>
                  <a:gd name="T38" fmla="*/ 879 w 1714"/>
                  <a:gd name="T39" fmla="*/ 1026 h 1542"/>
                  <a:gd name="T40" fmla="*/ 857 w 1714"/>
                  <a:gd name="T41" fmla="*/ 730 h 1542"/>
                  <a:gd name="T42" fmla="*/ 765 w 1714"/>
                  <a:gd name="T43" fmla="*/ 722 h 1542"/>
                  <a:gd name="T44" fmla="*/ 835 w 1714"/>
                  <a:gd name="T45" fmla="*/ 773 h 1542"/>
                  <a:gd name="T46" fmla="*/ 598 w 1714"/>
                  <a:gd name="T47" fmla="*/ 1284 h 1542"/>
                  <a:gd name="T48" fmla="*/ 1116 w 1714"/>
                  <a:gd name="T49" fmla="*/ 1284 h 1542"/>
                  <a:gd name="T50" fmla="*/ 946 w 1714"/>
                  <a:gd name="T51" fmla="*/ 1352 h 1542"/>
                  <a:gd name="T52" fmla="*/ 941 w 1714"/>
                  <a:gd name="T53" fmla="*/ 1434 h 1542"/>
                  <a:gd name="T54" fmla="*/ 822 w 1714"/>
                  <a:gd name="T55" fmla="*/ 1455 h 1542"/>
                  <a:gd name="T56" fmla="*/ 814 w 1714"/>
                  <a:gd name="T57" fmla="*/ 1396 h 1542"/>
                  <a:gd name="T58" fmla="*/ 743 w 1714"/>
                  <a:gd name="T59" fmla="*/ 1358 h 1542"/>
                  <a:gd name="T60" fmla="*/ 745 w 1714"/>
                  <a:gd name="T61" fmla="*/ 1315 h 1542"/>
                  <a:gd name="T62" fmla="*/ 728 w 1714"/>
                  <a:gd name="T63" fmla="*/ 1271 h 1542"/>
                  <a:gd name="T64" fmla="*/ 743 w 1714"/>
                  <a:gd name="T65" fmla="*/ 1243 h 1542"/>
                  <a:gd name="T66" fmla="*/ 751 w 1714"/>
                  <a:gd name="T67" fmla="*/ 1211 h 1542"/>
                  <a:gd name="T68" fmla="*/ 752 w 1714"/>
                  <a:gd name="T69" fmla="*/ 1176 h 1542"/>
                  <a:gd name="T70" fmla="*/ 730 w 1714"/>
                  <a:gd name="T71" fmla="*/ 1132 h 1542"/>
                  <a:gd name="T72" fmla="*/ 991 w 1714"/>
                  <a:gd name="T73" fmla="*/ 1192 h 1542"/>
                  <a:gd name="T74" fmla="*/ 1456 w 1714"/>
                  <a:gd name="T75" fmla="*/ 0 h 1542"/>
                  <a:gd name="T76" fmla="*/ 1221 w 1714"/>
                  <a:gd name="T77" fmla="*/ 368 h 1542"/>
                  <a:gd name="T78" fmla="*/ 965 w 1714"/>
                  <a:gd name="T79" fmla="*/ 534 h 1542"/>
                  <a:gd name="T80" fmla="*/ 984 w 1714"/>
                  <a:gd name="T81" fmla="*/ 603 h 1542"/>
                  <a:gd name="T82" fmla="*/ 1028 w 1714"/>
                  <a:gd name="T83" fmla="*/ 603 h 1542"/>
                  <a:gd name="T84" fmla="*/ 1243 w 1714"/>
                  <a:gd name="T85" fmla="*/ 406 h 1542"/>
                  <a:gd name="T86" fmla="*/ 1714 w 1714"/>
                  <a:gd name="T87" fmla="*/ 259 h 1542"/>
                  <a:gd name="T88" fmla="*/ 1514 w 1714"/>
                  <a:gd name="T89" fmla="*/ 363 h 1542"/>
                  <a:gd name="T90" fmla="*/ 1509 w 1714"/>
                  <a:gd name="T91" fmla="*/ 407 h 1542"/>
                  <a:gd name="T92" fmla="*/ 1417 w 1714"/>
                  <a:gd name="T93" fmla="*/ 427 h 1542"/>
                  <a:gd name="T94" fmla="*/ 1411 w 1714"/>
                  <a:gd name="T95" fmla="*/ 363 h 1542"/>
                  <a:gd name="T96" fmla="*/ 1346 w 1714"/>
                  <a:gd name="T97" fmla="*/ 356 h 1542"/>
                  <a:gd name="T98" fmla="*/ 1339 w 1714"/>
                  <a:gd name="T99" fmla="*/ 290 h 1542"/>
                  <a:gd name="T100" fmla="*/ 1321 w 1714"/>
                  <a:gd name="T101" fmla="*/ 246 h 1542"/>
                  <a:gd name="T102" fmla="*/ 1337 w 1714"/>
                  <a:gd name="T103" fmla="*/ 191 h 1542"/>
                  <a:gd name="T104" fmla="*/ 1343 w 1714"/>
                  <a:gd name="T105" fmla="*/ 143 h 1542"/>
                  <a:gd name="T106" fmla="*/ 1582 w 1714"/>
                  <a:gd name="T107" fmla="*/ 165 h 1542"/>
                  <a:gd name="T108" fmla="*/ 857 w 1714"/>
                  <a:gd name="T109" fmla="*/ 669 h 1542"/>
                  <a:gd name="T110" fmla="*/ 857 w 1714"/>
                  <a:gd name="T111" fmla="*/ 537 h 1542"/>
                  <a:gd name="T112" fmla="*/ 857 w 1714"/>
                  <a:gd name="T113" fmla="*/ 669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4" h="1542">
                    <a:moveTo>
                      <a:pt x="803" y="462"/>
                    </a:moveTo>
                    <a:cubicBezTo>
                      <a:pt x="797" y="451"/>
                      <a:pt x="783" y="448"/>
                      <a:pt x="773" y="454"/>
                    </a:cubicBezTo>
                    <a:cubicBezTo>
                      <a:pt x="753" y="465"/>
                      <a:pt x="735" y="481"/>
                      <a:pt x="721" y="499"/>
                    </a:cubicBezTo>
                    <a:cubicBezTo>
                      <a:pt x="493" y="368"/>
                      <a:pt x="493" y="368"/>
                      <a:pt x="493" y="368"/>
                    </a:cubicBezTo>
                    <a:cubicBezTo>
                      <a:pt x="509" y="335"/>
                      <a:pt x="517" y="298"/>
                      <a:pt x="517" y="259"/>
                    </a:cubicBezTo>
                    <a:cubicBezTo>
                      <a:pt x="517" y="116"/>
                      <a:pt x="401" y="0"/>
                      <a:pt x="258" y="0"/>
                    </a:cubicBezTo>
                    <a:cubicBezTo>
                      <a:pt x="116" y="0"/>
                      <a:pt x="0" y="116"/>
                      <a:pt x="0" y="259"/>
                    </a:cubicBezTo>
                    <a:cubicBezTo>
                      <a:pt x="0" y="402"/>
                      <a:pt x="116" y="517"/>
                      <a:pt x="258" y="517"/>
                    </a:cubicBezTo>
                    <a:cubicBezTo>
                      <a:pt x="347" y="517"/>
                      <a:pt x="424" y="473"/>
                      <a:pt x="471" y="406"/>
                    </a:cubicBezTo>
                    <a:cubicBezTo>
                      <a:pt x="717" y="548"/>
                      <a:pt x="717" y="548"/>
                      <a:pt x="717" y="548"/>
                    </a:cubicBezTo>
                    <a:cubicBezTo>
                      <a:pt x="720" y="550"/>
                      <a:pt x="724" y="551"/>
                      <a:pt x="728" y="551"/>
                    </a:cubicBezTo>
                    <a:cubicBezTo>
                      <a:pt x="735" y="551"/>
                      <a:pt x="742" y="547"/>
                      <a:pt x="747" y="540"/>
                    </a:cubicBezTo>
                    <a:cubicBezTo>
                      <a:pt x="747" y="539"/>
                      <a:pt x="747" y="539"/>
                      <a:pt x="747" y="539"/>
                    </a:cubicBezTo>
                    <a:cubicBezTo>
                      <a:pt x="758" y="519"/>
                      <a:pt x="775" y="503"/>
                      <a:pt x="794" y="492"/>
                    </a:cubicBezTo>
                    <a:cubicBezTo>
                      <a:pt x="805" y="486"/>
                      <a:pt x="809" y="473"/>
                      <a:pt x="803" y="462"/>
                    </a:cubicBezTo>
                    <a:close/>
                    <a:moveTo>
                      <a:pt x="402" y="273"/>
                    </a:moveTo>
                    <a:cubicBezTo>
                      <a:pt x="400" y="277"/>
                      <a:pt x="394" y="289"/>
                      <a:pt x="371" y="290"/>
                    </a:cubicBezTo>
                    <a:cubicBezTo>
                      <a:pt x="372" y="301"/>
                      <a:pt x="374" y="319"/>
                      <a:pt x="373" y="331"/>
                    </a:cubicBezTo>
                    <a:cubicBezTo>
                      <a:pt x="373" y="333"/>
                      <a:pt x="373" y="333"/>
                      <a:pt x="373" y="333"/>
                    </a:cubicBezTo>
                    <a:cubicBezTo>
                      <a:pt x="371" y="352"/>
                      <a:pt x="371" y="363"/>
                      <a:pt x="363" y="367"/>
                    </a:cubicBezTo>
                    <a:cubicBezTo>
                      <a:pt x="356" y="370"/>
                      <a:pt x="332" y="374"/>
                      <a:pt x="301" y="371"/>
                    </a:cubicBezTo>
                    <a:cubicBezTo>
                      <a:pt x="301" y="423"/>
                      <a:pt x="301" y="423"/>
                      <a:pt x="301" y="423"/>
                    </a:cubicBezTo>
                    <a:cubicBezTo>
                      <a:pt x="301" y="427"/>
                      <a:pt x="298" y="430"/>
                      <a:pt x="294" y="430"/>
                    </a:cubicBezTo>
                    <a:cubicBezTo>
                      <a:pt x="294" y="430"/>
                      <a:pt x="294" y="430"/>
                      <a:pt x="294" y="430"/>
                    </a:cubicBezTo>
                    <a:cubicBezTo>
                      <a:pt x="289" y="430"/>
                      <a:pt x="224" y="430"/>
                      <a:pt x="174" y="409"/>
                    </a:cubicBezTo>
                    <a:cubicBezTo>
                      <a:pt x="171" y="408"/>
                      <a:pt x="169" y="405"/>
                      <a:pt x="169" y="402"/>
                    </a:cubicBezTo>
                    <a:cubicBezTo>
                      <a:pt x="169" y="327"/>
                      <a:pt x="169" y="327"/>
                      <a:pt x="169" y="327"/>
                    </a:cubicBezTo>
                    <a:cubicBezTo>
                      <a:pt x="144" y="300"/>
                      <a:pt x="93" y="234"/>
                      <a:pt x="125" y="167"/>
                    </a:cubicBezTo>
                    <a:cubicBezTo>
                      <a:pt x="142" y="130"/>
                      <a:pt x="178" y="87"/>
                      <a:pt x="251" y="87"/>
                    </a:cubicBezTo>
                    <a:cubicBezTo>
                      <a:pt x="333" y="87"/>
                      <a:pt x="309" y="108"/>
                      <a:pt x="385" y="107"/>
                    </a:cubicBezTo>
                    <a:cubicBezTo>
                      <a:pt x="393" y="107"/>
                      <a:pt x="369" y="134"/>
                      <a:pt x="365" y="150"/>
                    </a:cubicBezTo>
                    <a:cubicBezTo>
                      <a:pt x="364" y="151"/>
                      <a:pt x="364" y="151"/>
                      <a:pt x="364" y="151"/>
                    </a:cubicBezTo>
                    <a:cubicBezTo>
                      <a:pt x="363" y="152"/>
                      <a:pt x="361" y="150"/>
                      <a:pt x="360" y="151"/>
                    </a:cubicBezTo>
                    <a:cubicBezTo>
                      <a:pt x="361" y="161"/>
                      <a:pt x="362" y="179"/>
                      <a:pt x="364" y="186"/>
                    </a:cubicBezTo>
                    <a:cubicBezTo>
                      <a:pt x="366" y="192"/>
                      <a:pt x="368" y="199"/>
                      <a:pt x="369" y="205"/>
                    </a:cubicBezTo>
                    <a:cubicBezTo>
                      <a:pt x="370" y="210"/>
                      <a:pt x="371" y="215"/>
                      <a:pt x="372" y="218"/>
                    </a:cubicBezTo>
                    <a:cubicBezTo>
                      <a:pt x="376" y="229"/>
                      <a:pt x="381" y="239"/>
                      <a:pt x="385" y="243"/>
                    </a:cubicBezTo>
                    <a:cubicBezTo>
                      <a:pt x="386" y="244"/>
                      <a:pt x="386" y="245"/>
                      <a:pt x="387" y="246"/>
                    </a:cubicBezTo>
                    <a:cubicBezTo>
                      <a:pt x="396" y="255"/>
                      <a:pt x="405" y="264"/>
                      <a:pt x="402" y="273"/>
                    </a:cubicBezTo>
                    <a:close/>
                    <a:moveTo>
                      <a:pt x="879" y="1026"/>
                    </a:moveTo>
                    <a:cubicBezTo>
                      <a:pt x="879" y="752"/>
                      <a:pt x="879" y="752"/>
                      <a:pt x="879" y="752"/>
                    </a:cubicBezTo>
                    <a:cubicBezTo>
                      <a:pt x="879" y="740"/>
                      <a:pt x="869" y="730"/>
                      <a:pt x="857" y="730"/>
                    </a:cubicBezTo>
                    <a:cubicBezTo>
                      <a:pt x="835" y="730"/>
                      <a:pt x="813" y="725"/>
                      <a:pt x="794" y="714"/>
                    </a:cubicBezTo>
                    <a:cubicBezTo>
                      <a:pt x="784" y="708"/>
                      <a:pt x="770" y="712"/>
                      <a:pt x="765" y="722"/>
                    </a:cubicBezTo>
                    <a:cubicBezTo>
                      <a:pt x="759" y="733"/>
                      <a:pt x="762" y="746"/>
                      <a:pt x="773" y="752"/>
                    </a:cubicBezTo>
                    <a:cubicBezTo>
                      <a:pt x="792" y="763"/>
                      <a:pt x="813" y="770"/>
                      <a:pt x="835" y="773"/>
                    </a:cubicBezTo>
                    <a:cubicBezTo>
                      <a:pt x="835" y="1026"/>
                      <a:pt x="835" y="1026"/>
                      <a:pt x="835" y="1026"/>
                    </a:cubicBezTo>
                    <a:cubicBezTo>
                      <a:pt x="702" y="1037"/>
                      <a:pt x="598" y="1148"/>
                      <a:pt x="598" y="1284"/>
                    </a:cubicBezTo>
                    <a:cubicBezTo>
                      <a:pt x="598" y="1427"/>
                      <a:pt x="714" y="1542"/>
                      <a:pt x="857" y="1542"/>
                    </a:cubicBezTo>
                    <a:cubicBezTo>
                      <a:pt x="1000" y="1542"/>
                      <a:pt x="1116" y="1427"/>
                      <a:pt x="1116" y="1284"/>
                    </a:cubicBezTo>
                    <a:cubicBezTo>
                      <a:pt x="1116" y="1148"/>
                      <a:pt x="1012" y="1037"/>
                      <a:pt x="879" y="1026"/>
                    </a:cubicBezTo>
                    <a:close/>
                    <a:moveTo>
                      <a:pt x="946" y="1352"/>
                    </a:moveTo>
                    <a:cubicBezTo>
                      <a:pt x="946" y="1427"/>
                      <a:pt x="946" y="1427"/>
                      <a:pt x="946" y="1427"/>
                    </a:cubicBezTo>
                    <a:cubicBezTo>
                      <a:pt x="946" y="1430"/>
                      <a:pt x="944" y="1433"/>
                      <a:pt x="941" y="1434"/>
                    </a:cubicBezTo>
                    <a:cubicBezTo>
                      <a:pt x="891" y="1455"/>
                      <a:pt x="827" y="1455"/>
                      <a:pt x="822" y="1455"/>
                    </a:cubicBezTo>
                    <a:cubicBezTo>
                      <a:pt x="822" y="1455"/>
                      <a:pt x="822" y="1455"/>
                      <a:pt x="822" y="1455"/>
                    </a:cubicBezTo>
                    <a:cubicBezTo>
                      <a:pt x="817" y="1455"/>
                      <a:pt x="814" y="1452"/>
                      <a:pt x="814" y="1448"/>
                    </a:cubicBezTo>
                    <a:cubicBezTo>
                      <a:pt x="814" y="1396"/>
                      <a:pt x="814" y="1396"/>
                      <a:pt x="814" y="1396"/>
                    </a:cubicBezTo>
                    <a:cubicBezTo>
                      <a:pt x="783" y="1399"/>
                      <a:pt x="760" y="1395"/>
                      <a:pt x="753" y="1392"/>
                    </a:cubicBezTo>
                    <a:cubicBezTo>
                      <a:pt x="745" y="1388"/>
                      <a:pt x="744" y="1377"/>
                      <a:pt x="743" y="1358"/>
                    </a:cubicBezTo>
                    <a:cubicBezTo>
                      <a:pt x="743" y="1356"/>
                      <a:pt x="743" y="1356"/>
                      <a:pt x="743" y="1356"/>
                    </a:cubicBezTo>
                    <a:cubicBezTo>
                      <a:pt x="742" y="1344"/>
                      <a:pt x="743" y="1326"/>
                      <a:pt x="745" y="1315"/>
                    </a:cubicBezTo>
                    <a:cubicBezTo>
                      <a:pt x="721" y="1314"/>
                      <a:pt x="715" y="1302"/>
                      <a:pt x="714" y="1298"/>
                    </a:cubicBezTo>
                    <a:cubicBezTo>
                      <a:pt x="711" y="1289"/>
                      <a:pt x="719" y="1280"/>
                      <a:pt x="728" y="1271"/>
                    </a:cubicBezTo>
                    <a:cubicBezTo>
                      <a:pt x="729" y="1270"/>
                      <a:pt x="730" y="1269"/>
                      <a:pt x="731" y="1268"/>
                    </a:cubicBezTo>
                    <a:cubicBezTo>
                      <a:pt x="735" y="1264"/>
                      <a:pt x="739" y="1254"/>
                      <a:pt x="743" y="1243"/>
                    </a:cubicBezTo>
                    <a:cubicBezTo>
                      <a:pt x="744" y="1240"/>
                      <a:pt x="745" y="1235"/>
                      <a:pt x="746" y="1230"/>
                    </a:cubicBezTo>
                    <a:cubicBezTo>
                      <a:pt x="748" y="1224"/>
                      <a:pt x="749" y="1217"/>
                      <a:pt x="751" y="1211"/>
                    </a:cubicBezTo>
                    <a:cubicBezTo>
                      <a:pt x="753" y="1204"/>
                      <a:pt x="755" y="1186"/>
                      <a:pt x="756" y="1176"/>
                    </a:cubicBezTo>
                    <a:cubicBezTo>
                      <a:pt x="754" y="1175"/>
                      <a:pt x="752" y="1177"/>
                      <a:pt x="752" y="1176"/>
                    </a:cubicBezTo>
                    <a:cubicBezTo>
                      <a:pt x="751" y="1176"/>
                      <a:pt x="751" y="1176"/>
                      <a:pt x="751" y="1175"/>
                    </a:cubicBezTo>
                    <a:cubicBezTo>
                      <a:pt x="747" y="1159"/>
                      <a:pt x="722" y="1132"/>
                      <a:pt x="730" y="1132"/>
                    </a:cubicBezTo>
                    <a:cubicBezTo>
                      <a:pt x="807" y="1133"/>
                      <a:pt x="783" y="1112"/>
                      <a:pt x="865" y="1112"/>
                    </a:cubicBezTo>
                    <a:cubicBezTo>
                      <a:pt x="937" y="1112"/>
                      <a:pt x="973" y="1155"/>
                      <a:pt x="991" y="1192"/>
                    </a:cubicBezTo>
                    <a:cubicBezTo>
                      <a:pt x="1022" y="1259"/>
                      <a:pt x="971" y="1325"/>
                      <a:pt x="946" y="1352"/>
                    </a:cubicBezTo>
                    <a:close/>
                    <a:moveTo>
                      <a:pt x="1456" y="0"/>
                    </a:moveTo>
                    <a:cubicBezTo>
                      <a:pt x="1313" y="0"/>
                      <a:pt x="1197" y="116"/>
                      <a:pt x="1197" y="259"/>
                    </a:cubicBezTo>
                    <a:cubicBezTo>
                      <a:pt x="1197" y="298"/>
                      <a:pt x="1205" y="335"/>
                      <a:pt x="1221" y="368"/>
                    </a:cubicBezTo>
                    <a:cubicBezTo>
                      <a:pt x="975" y="509"/>
                      <a:pt x="975" y="509"/>
                      <a:pt x="975" y="509"/>
                    </a:cubicBezTo>
                    <a:cubicBezTo>
                      <a:pt x="967" y="514"/>
                      <a:pt x="963" y="525"/>
                      <a:pt x="965" y="534"/>
                    </a:cubicBezTo>
                    <a:cubicBezTo>
                      <a:pt x="966" y="536"/>
                      <a:pt x="967" y="538"/>
                      <a:pt x="968" y="540"/>
                    </a:cubicBezTo>
                    <a:cubicBezTo>
                      <a:pt x="979" y="559"/>
                      <a:pt x="984" y="581"/>
                      <a:pt x="984" y="603"/>
                    </a:cubicBezTo>
                    <a:cubicBezTo>
                      <a:pt x="984" y="615"/>
                      <a:pt x="994" y="625"/>
                      <a:pt x="1006" y="625"/>
                    </a:cubicBezTo>
                    <a:cubicBezTo>
                      <a:pt x="1018" y="625"/>
                      <a:pt x="1028" y="615"/>
                      <a:pt x="1028" y="603"/>
                    </a:cubicBezTo>
                    <a:cubicBezTo>
                      <a:pt x="1028" y="580"/>
                      <a:pt x="1024" y="558"/>
                      <a:pt x="1015" y="537"/>
                    </a:cubicBezTo>
                    <a:cubicBezTo>
                      <a:pt x="1243" y="406"/>
                      <a:pt x="1243" y="406"/>
                      <a:pt x="1243" y="406"/>
                    </a:cubicBezTo>
                    <a:cubicBezTo>
                      <a:pt x="1290" y="473"/>
                      <a:pt x="1367" y="517"/>
                      <a:pt x="1456" y="517"/>
                    </a:cubicBezTo>
                    <a:cubicBezTo>
                      <a:pt x="1598" y="517"/>
                      <a:pt x="1714" y="402"/>
                      <a:pt x="1714" y="259"/>
                    </a:cubicBezTo>
                    <a:cubicBezTo>
                      <a:pt x="1714" y="116"/>
                      <a:pt x="1598" y="0"/>
                      <a:pt x="1456" y="0"/>
                    </a:cubicBezTo>
                    <a:close/>
                    <a:moveTo>
                      <a:pt x="1514" y="363"/>
                    </a:moveTo>
                    <a:cubicBezTo>
                      <a:pt x="1512" y="401"/>
                      <a:pt x="1512" y="401"/>
                      <a:pt x="1512" y="401"/>
                    </a:cubicBezTo>
                    <a:cubicBezTo>
                      <a:pt x="1512" y="403"/>
                      <a:pt x="1511" y="405"/>
                      <a:pt x="1509" y="407"/>
                    </a:cubicBezTo>
                    <a:cubicBezTo>
                      <a:pt x="1478" y="425"/>
                      <a:pt x="1441" y="427"/>
                      <a:pt x="1425" y="427"/>
                    </a:cubicBezTo>
                    <a:cubicBezTo>
                      <a:pt x="1421" y="427"/>
                      <a:pt x="1418" y="427"/>
                      <a:pt x="1417" y="427"/>
                    </a:cubicBezTo>
                    <a:cubicBezTo>
                      <a:pt x="1414" y="426"/>
                      <a:pt x="1411" y="423"/>
                      <a:pt x="1411" y="419"/>
                    </a:cubicBezTo>
                    <a:cubicBezTo>
                      <a:pt x="1411" y="363"/>
                      <a:pt x="1411" y="363"/>
                      <a:pt x="1411" y="363"/>
                    </a:cubicBezTo>
                    <a:cubicBezTo>
                      <a:pt x="1403" y="363"/>
                      <a:pt x="1392" y="364"/>
                      <a:pt x="1388" y="364"/>
                    </a:cubicBezTo>
                    <a:cubicBezTo>
                      <a:pt x="1358" y="364"/>
                      <a:pt x="1350" y="360"/>
                      <a:pt x="1346" y="356"/>
                    </a:cubicBezTo>
                    <a:cubicBezTo>
                      <a:pt x="1342" y="352"/>
                      <a:pt x="1338" y="344"/>
                      <a:pt x="1339" y="313"/>
                    </a:cubicBezTo>
                    <a:cubicBezTo>
                      <a:pt x="1339" y="304"/>
                      <a:pt x="1339" y="295"/>
                      <a:pt x="1339" y="290"/>
                    </a:cubicBezTo>
                    <a:cubicBezTo>
                      <a:pt x="1320" y="289"/>
                      <a:pt x="1311" y="280"/>
                      <a:pt x="1308" y="274"/>
                    </a:cubicBezTo>
                    <a:cubicBezTo>
                      <a:pt x="1305" y="266"/>
                      <a:pt x="1314" y="253"/>
                      <a:pt x="1321" y="246"/>
                    </a:cubicBezTo>
                    <a:cubicBezTo>
                      <a:pt x="1327" y="240"/>
                      <a:pt x="1332" y="231"/>
                      <a:pt x="1335" y="224"/>
                    </a:cubicBezTo>
                    <a:cubicBezTo>
                      <a:pt x="1337" y="220"/>
                      <a:pt x="1338" y="202"/>
                      <a:pt x="1337" y="191"/>
                    </a:cubicBezTo>
                    <a:cubicBezTo>
                      <a:pt x="1335" y="170"/>
                      <a:pt x="1345" y="157"/>
                      <a:pt x="1348" y="152"/>
                    </a:cubicBezTo>
                    <a:cubicBezTo>
                      <a:pt x="1347" y="149"/>
                      <a:pt x="1345" y="146"/>
                      <a:pt x="1343" y="143"/>
                    </a:cubicBezTo>
                    <a:cubicBezTo>
                      <a:pt x="1339" y="127"/>
                      <a:pt x="1373" y="90"/>
                      <a:pt x="1453" y="90"/>
                    </a:cubicBezTo>
                    <a:cubicBezTo>
                      <a:pt x="1523" y="90"/>
                      <a:pt x="1565" y="128"/>
                      <a:pt x="1582" y="165"/>
                    </a:cubicBezTo>
                    <a:cubicBezTo>
                      <a:pt x="1641" y="286"/>
                      <a:pt x="1563" y="344"/>
                      <a:pt x="1514" y="363"/>
                    </a:cubicBezTo>
                    <a:close/>
                    <a:moveTo>
                      <a:pt x="857" y="669"/>
                    </a:moveTo>
                    <a:cubicBezTo>
                      <a:pt x="821" y="669"/>
                      <a:pt x="791" y="639"/>
                      <a:pt x="791" y="603"/>
                    </a:cubicBezTo>
                    <a:cubicBezTo>
                      <a:pt x="791" y="567"/>
                      <a:pt x="821" y="537"/>
                      <a:pt x="857" y="537"/>
                    </a:cubicBezTo>
                    <a:cubicBezTo>
                      <a:pt x="893" y="537"/>
                      <a:pt x="923" y="567"/>
                      <a:pt x="923" y="603"/>
                    </a:cubicBezTo>
                    <a:cubicBezTo>
                      <a:pt x="923" y="639"/>
                      <a:pt x="893" y="669"/>
                      <a:pt x="857" y="669"/>
                    </a:cubicBezTo>
                    <a:close/>
                  </a:path>
                </a:pathLst>
              </a:custGeom>
              <a:solidFill>
                <a:srgbClr val="00AEEF">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6">
                <a:extLst>
                  <a:ext uri="{FF2B5EF4-FFF2-40B4-BE49-F238E27FC236}">
                    <a16:creationId xmlns:a16="http://schemas.microsoft.com/office/drawing/2014/main" id="{CA6A4D41-C7F7-4628-AD02-24549E8B5B9C}"/>
                  </a:ext>
                </a:extLst>
              </p:cNvPr>
              <p:cNvSpPr>
                <a:spLocks noEditPoints="1"/>
              </p:cNvSpPr>
              <p:nvPr/>
            </p:nvSpPr>
            <p:spPr bwMode="auto">
              <a:xfrm>
                <a:off x="5355525" y="2801969"/>
                <a:ext cx="1522662" cy="1371819"/>
              </a:xfrm>
              <a:custGeom>
                <a:avLst/>
                <a:gdLst>
                  <a:gd name="T0" fmla="*/ 857 w 1714"/>
                  <a:gd name="T1" fmla="*/ 0 h 1542"/>
                  <a:gd name="T2" fmla="*/ 835 w 1714"/>
                  <a:gd name="T3" fmla="*/ 516 h 1542"/>
                  <a:gd name="T4" fmla="*/ 857 w 1714"/>
                  <a:gd name="T5" fmla="*/ 812 h 1542"/>
                  <a:gd name="T6" fmla="*/ 923 w 1714"/>
                  <a:gd name="T7" fmla="*/ 827 h 1542"/>
                  <a:gd name="T8" fmla="*/ 933 w 1714"/>
                  <a:gd name="T9" fmla="*/ 785 h 1542"/>
                  <a:gd name="T10" fmla="*/ 879 w 1714"/>
                  <a:gd name="T11" fmla="*/ 516 h 1542"/>
                  <a:gd name="T12" fmla="*/ 773 w 1714"/>
                  <a:gd name="T13" fmla="*/ 409 h 1542"/>
                  <a:gd name="T14" fmla="*/ 768 w 1714"/>
                  <a:gd name="T15" fmla="*/ 326 h 1542"/>
                  <a:gd name="T16" fmla="*/ 849 w 1714"/>
                  <a:gd name="T17" fmla="*/ 87 h 1542"/>
                  <a:gd name="T18" fmla="*/ 963 w 1714"/>
                  <a:gd name="T19" fmla="*/ 150 h 1542"/>
                  <a:gd name="T20" fmla="*/ 958 w 1714"/>
                  <a:gd name="T21" fmla="*/ 150 h 1542"/>
                  <a:gd name="T22" fmla="*/ 968 w 1714"/>
                  <a:gd name="T23" fmla="*/ 205 h 1542"/>
                  <a:gd name="T24" fmla="*/ 983 w 1714"/>
                  <a:gd name="T25" fmla="*/ 243 h 1542"/>
                  <a:gd name="T26" fmla="*/ 1000 w 1714"/>
                  <a:gd name="T27" fmla="*/ 273 h 1542"/>
                  <a:gd name="T28" fmla="*/ 971 w 1714"/>
                  <a:gd name="T29" fmla="*/ 331 h 1542"/>
                  <a:gd name="T30" fmla="*/ 961 w 1714"/>
                  <a:gd name="T31" fmla="*/ 367 h 1542"/>
                  <a:gd name="T32" fmla="*/ 900 w 1714"/>
                  <a:gd name="T33" fmla="*/ 423 h 1542"/>
                  <a:gd name="T34" fmla="*/ 892 w 1714"/>
                  <a:gd name="T35" fmla="*/ 430 h 1542"/>
                  <a:gd name="T36" fmla="*/ 1456 w 1714"/>
                  <a:gd name="T37" fmla="*/ 1025 h 1542"/>
                  <a:gd name="T38" fmla="*/ 997 w 1714"/>
                  <a:gd name="T39" fmla="*/ 994 h 1542"/>
                  <a:gd name="T40" fmla="*/ 967 w 1714"/>
                  <a:gd name="T41" fmla="*/ 1003 h 1542"/>
                  <a:gd name="T42" fmla="*/ 918 w 1714"/>
                  <a:gd name="T43" fmla="*/ 1077 h 1542"/>
                  <a:gd name="T44" fmla="*/ 993 w 1714"/>
                  <a:gd name="T45" fmla="*/ 1043 h 1542"/>
                  <a:gd name="T46" fmla="*/ 1197 w 1714"/>
                  <a:gd name="T47" fmla="*/ 1283 h 1542"/>
                  <a:gd name="T48" fmla="*/ 1714 w 1714"/>
                  <a:gd name="T49" fmla="*/ 1283 h 1542"/>
                  <a:gd name="T50" fmla="*/ 1545 w 1714"/>
                  <a:gd name="T51" fmla="*/ 1351 h 1542"/>
                  <a:gd name="T52" fmla="*/ 1540 w 1714"/>
                  <a:gd name="T53" fmla="*/ 1434 h 1542"/>
                  <a:gd name="T54" fmla="*/ 1420 w 1714"/>
                  <a:gd name="T55" fmla="*/ 1455 h 1542"/>
                  <a:gd name="T56" fmla="*/ 1413 w 1714"/>
                  <a:gd name="T57" fmla="*/ 1395 h 1542"/>
                  <a:gd name="T58" fmla="*/ 1341 w 1714"/>
                  <a:gd name="T59" fmla="*/ 1358 h 1542"/>
                  <a:gd name="T60" fmla="*/ 1343 w 1714"/>
                  <a:gd name="T61" fmla="*/ 1315 h 1542"/>
                  <a:gd name="T62" fmla="*/ 1327 w 1714"/>
                  <a:gd name="T63" fmla="*/ 1271 h 1542"/>
                  <a:gd name="T64" fmla="*/ 1342 w 1714"/>
                  <a:gd name="T65" fmla="*/ 1243 h 1542"/>
                  <a:gd name="T66" fmla="*/ 1350 w 1714"/>
                  <a:gd name="T67" fmla="*/ 1211 h 1542"/>
                  <a:gd name="T68" fmla="*/ 1350 w 1714"/>
                  <a:gd name="T69" fmla="*/ 1176 h 1542"/>
                  <a:gd name="T70" fmla="*/ 1329 w 1714"/>
                  <a:gd name="T71" fmla="*/ 1131 h 1542"/>
                  <a:gd name="T72" fmla="*/ 1589 w 1714"/>
                  <a:gd name="T73" fmla="*/ 1192 h 1542"/>
                  <a:gd name="T74" fmla="*/ 748 w 1714"/>
                  <a:gd name="T75" fmla="*/ 1006 h 1542"/>
                  <a:gd name="T76" fmla="*/ 730 w 1714"/>
                  <a:gd name="T77" fmla="*/ 939 h 1542"/>
                  <a:gd name="T78" fmla="*/ 686 w 1714"/>
                  <a:gd name="T79" fmla="*/ 939 h 1542"/>
                  <a:gd name="T80" fmla="*/ 471 w 1714"/>
                  <a:gd name="T81" fmla="*/ 1136 h 1542"/>
                  <a:gd name="T82" fmla="*/ 0 w 1714"/>
                  <a:gd name="T83" fmla="*/ 1283 h 1542"/>
                  <a:gd name="T84" fmla="*/ 517 w 1714"/>
                  <a:gd name="T85" fmla="*/ 1283 h 1542"/>
                  <a:gd name="T86" fmla="*/ 739 w 1714"/>
                  <a:gd name="T87" fmla="*/ 1033 h 1542"/>
                  <a:gd name="T88" fmla="*/ 406 w 1714"/>
                  <a:gd name="T89" fmla="*/ 1299 h 1542"/>
                  <a:gd name="T90" fmla="*/ 375 w 1714"/>
                  <a:gd name="T91" fmla="*/ 1337 h 1542"/>
                  <a:gd name="T92" fmla="*/ 326 w 1714"/>
                  <a:gd name="T93" fmla="*/ 1388 h 1542"/>
                  <a:gd name="T94" fmla="*/ 303 w 1714"/>
                  <a:gd name="T95" fmla="*/ 1444 h 1542"/>
                  <a:gd name="T96" fmla="*/ 289 w 1714"/>
                  <a:gd name="T97" fmla="*/ 1452 h 1542"/>
                  <a:gd name="T98" fmla="*/ 202 w 1714"/>
                  <a:gd name="T99" fmla="*/ 1425 h 1542"/>
                  <a:gd name="T100" fmla="*/ 132 w 1714"/>
                  <a:gd name="T101" fmla="*/ 1189 h 1542"/>
                  <a:gd name="T102" fmla="*/ 371 w 1714"/>
                  <a:gd name="T103" fmla="*/ 1168 h 1542"/>
                  <a:gd name="T104" fmla="*/ 377 w 1714"/>
                  <a:gd name="T105" fmla="*/ 1216 h 1542"/>
                  <a:gd name="T106" fmla="*/ 393 w 1714"/>
                  <a:gd name="T107" fmla="*/ 127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4" h="1542">
                    <a:moveTo>
                      <a:pt x="1116" y="258"/>
                    </a:moveTo>
                    <a:cubicBezTo>
                      <a:pt x="1116" y="115"/>
                      <a:pt x="1000" y="0"/>
                      <a:pt x="857" y="0"/>
                    </a:cubicBezTo>
                    <a:cubicBezTo>
                      <a:pt x="714" y="0"/>
                      <a:pt x="598" y="115"/>
                      <a:pt x="598" y="258"/>
                    </a:cubicBezTo>
                    <a:cubicBezTo>
                      <a:pt x="598" y="394"/>
                      <a:pt x="702" y="505"/>
                      <a:pt x="835" y="516"/>
                    </a:cubicBezTo>
                    <a:cubicBezTo>
                      <a:pt x="835" y="790"/>
                      <a:pt x="835" y="790"/>
                      <a:pt x="835" y="790"/>
                    </a:cubicBezTo>
                    <a:cubicBezTo>
                      <a:pt x="835" y="802"/>
                      <a:pt x="845" y="812"/>
                      <a:pt x="857" y="812"/>
                    </a:cubicBezTo>
                    <a:cubicBezTo>
                      <a:pt x="877" y="812"/>
                      <a:pt x="896" y="816"/>
                      <a:pt x="913" y="825"/>
                    </a:cubicBezTo>
                    <a:cubicBezTo>
                      <a:pt x="916" y="826"/>
                      <a:pt x="920" y="827"/>
                      <a:pt x="923" y="827"/>
                    </a:cubicBezTo>
                    <a:cubicBezTo>
                      <a:pt x="931" y="827"/>
                      <a:pt x="939" y="823"/>
                      <a:pt x="943" y="815"/>
                    </a:cubicBezTo>
                    <a:cubicBezTo>
                      <a:pt x="948" y="804"/>
                      <a:pt x="944" y="791"/>
                      <a:pt x="933" y="785"/>
                    </a:cubicBezTo>
                    <a:cubicBezTo>
                      <a:pt x="916" y="777"/>
                      <a:pt x="898" y="771"/>
                      <a:pt x="879" y="769"/>
                    </a:cubicBezTo>
                    <a:cubicBezTo>
                      <a:pt x="879" y="516"/>
                      <a:pt x="879" y="516"/>
                      <a:pt x="879" y="516"/>
                    </a:cubicBezTo>
                    <a:cubicBezTo>
                      <a:pt x="1012" y="505"/>
                      <a:pt x="1116" y="394"/>
                      <a:pt x="1116" y="258"/>
                    </a:cubicBezTo>
                    <a:close/>
                    <a:moveTo>
                      <a:pt x="773" y="409"/>
                    </a:moveTo>
                    <a:cubicBezTo>
                      <a:pt x="770" y="408"/>
                      <a:pt x="768" y="405"/>
                      <a:pt x="768" y="402"/>
                    </a:cubicBezTo>
                    <a:cubicBezTo>
                      <a:pt x="768" y="326"/>
                      <a:pt x="768" y="326"/>
                      <a:pt x="768" y="326"/>
                    </a:cubicBezTo>
                    <a:cubicBezTo>
                      <a:pt x="743" y="300"/>
                      <a:pt x="692" y="234"/>
                      <a:pt x="723" y="167"/>
                    </a:cubicBezTo>
                    <a:cubicBezTo>
                      <a:pt x="741" y="130"/>
                      <a:pt x="777" y="87"/>
                      <a:pt x="849" y="87"/>
                    </a:cubicBezTo>
                    <a:cubicBezTo>
                      <a:pt x="931" y="87"/>
                      <a:pt x="907" y="108"/>
                      <a:pt x="984" y="106"/>
                    </a:cubicBezTo>
                    <a:cubicBezTo>
                      <a:pt x="992" y="106"/>
                      <a:pt x="967" y="133"/>
                      <a:pt x="963" y="150"/>
                    </a:cubicBezTo>
                    <a:cubicBezTo>
                      <a:pt x="963" y="151"/>
                      <a:pt x="963" y="151"/>
                      <a:pt x="962" y="151"/>
                    </a:cubicBezTo>
                    <a:cubicBezTo>
                      <a:pt x="962" y="151"/>
                      <a:pt x="960" y="150"/>
                      <a:pt x="958" y="150"/>
                    </a:cubicBezTo>
                    <a:cubicBezTo>
                      <a:pt x="959" y="160"/>
                      <a:pt x="961" y="179"/>
                      <a:pt x="963" y="186"/>
                    </a:cubicBezTo>
                    <a:cubicBezTo>
                      <a:pt x="965" y="191"/>
                      <a:pt x="966" y="198"/>
                      <a:pt x="968" y="205"/>
                    </a:cubicBezTo>
                    <a:cubicBezTo>
                      <a:pt x="969" y="210"/>
                      <a:pt x="970" y="215"/>
                      <a:pt x="971" y="218"/>
                    </a:cubicBezTo>
                    <a:cubicBezTo>
                      <a:pt x="975" y="229"/>
                      <a:pt x="979" y="238"/>
                      <a:pt x="983" y="243"/>
                    </a:cubicBezTo>
                    <a:cubicBezTo>
                      <a:pt x="984" y="244"/>
                      <a:pt x="985" y="245"/>
                      <a:pt x="986" y="246"/>
                    </a:cubicBezTo>
                    <a:cubicBezTo>
                      <a:pt x="995" y="255"/>
                      <a:pt x="1003" y="264"/>
                      <a:pt x="1000" y="273"/>
                    </a:cubicBezTo>
                    <a:cubicBezTo>
                      <a:pt x="999" y="277"/>
                      <a:pt x="993" y="289"/>
                      <a:pt x="969" y="290"/>
                    </a:cubicBezTo>
                    <a:cubicBezTo>
                      <a:pt x="971" y="300"/>
                      <a:pt x="972" y="319"/>
                      <a:pt x="971" y="331"/>
                    </a:cubicBezTo>
                    <a:cubicBezTo>
                      <a:pt x="971" y="333"/>
                      <a:pt x="971" y="333"/>
                      <a:pt x="971" y="333"/>
                    </a:cubicBezTo>
                    <a:cubicBezTo>
                      <a:pt x="970" y="352"/>
                      <a:pt x="969" y="362"/>
                      <a:pt x="961" y="367"/>
                    </a:cubicBezTo>
                    <a:cubicBezTo>
                      <a:pt x="954" y="370"/>
                      <a:pt x="931" y="373"/>
                      <a:pt x="900" y="370"/>
                    </a:cubicBezTo>
                    <a:cubicBezTo>
                      <a:pt x="900" y="423"/>
                      <a:pt x="900" y="423"/>
                      <a:pt x="900" y="423"/>
                    </a:cubicBezTo>
                    <a:cubicBezTo>
                      <a:pt x="900" y="427"/>
                      <a:pt x="897" y="430"/>
                      <a:pt x="892" y="430"/>
                    </a:cubicBezTo>
                    <a:cubicBezTo>
                      <a:pt x="892" y="430"/>
                      <a:pt x="892" y="430"/>
                      <a:pt x="892" y="430"/>
                    </a:cubicBezTo>
                    <a:cubicBezTo>
                      <a:pt x="887" y="430"/>
                      <a:pt x="823" y="430"/>
                      <a:pt x="773" y="409"/>
                    </a:cubicBezTo>
                    <a:close/>
                    <a:moveTo>
                      <a:pt x="1456" y="1025"/>
                    </a:moveTo>
                    <a:cubicBezTo>
                      <a:pt x="1367" y="1025"/>
                      <a:pt x="1290" y="1069"/>
                      <a:pt x="1243" y="1136"/>
                    </a:cubicBezTo>
                    <a:cubicBezTo>
                      <a:pt x="997" y="994"/>
                      <a:pt x="997" y="994"/>
                      <a:pt x="997" y="994"/>
                    </a:cubicBezTo>
                    <a:cubicBezTo>
                      <a:pt x="987" y="988"/>
                      <a:pt x="974" y="992"/>
                      <a:pt x="967" y="1002"/>
                    </a:cubicBezTo>
                    <a:cubicBezTo>
                      <a:pt x="967" y="1003"/>
                      <a:pt x="967" y="1003"/>
                      <a:pt x="967" y="1003"/>
                    </a:cubicBezTo>
                    <a:cubicBezTo>
                      <a:pt x="957" y="1021"/>
                      <a:pt x="942" y="1036"/>
                      <a:pt x="925" y="1047"/>
                    </a:cubicBezTo>
                    <a:cubicBezTo>
                      <a:pt x="914" y="1053"/>
                      <a:pt x="911" y="1067"/>
                      <a:pt x="918" y="1077"/>
                    </a:cubicBezTo>
                    <a:cubicBezTo>
                      <a:pt x="924" y="1088"/>
                      <a:pt x="938" y="1091"/>
                      <a:pt x="948" y="1084"/>
                    </a:cubicBezTo>
                    <a:cubicBezTo>
                      <a:pt x="965" y="1073"/>
                      <a:pt x="981" y="1059"/>
                      <a:pt x="993" y="1043"/>
                    </a:cubicBezTo>
                    <a:cubicBezTo>
                      <a:pt x="1221" y="1174"/>
                      <a:pt x="1221" y="1174"/>
                      <a:pt x="1221" y="1174"/>
                    </a:cubicBezTo>
                    <a:cubicBezTo>
                      <a:pt x="1205" y="1207"/>
                      <a:pt x="1197" y="1244"/>
                      <a:pt x="1197" y="1283"/>
                    </a:cubicBezTo>
                    <a:cubicBezTo>
                      <a:pt x="1197" y="1426"/>
                      <a:pt x="1313" y="1542"/>
                      <a:pt x="1456" y="1542"/>
                    </a:cubicBezTo>
                    <a:cubicBezTo>
                      <a:pt x="1598" y="1542"/>
                      <a:pt x="1714" y="1426"/>
                      <a:pt x="1714" y="1283"/>
                    </a:cubicBezTo>
                    <a:cubicBezTo>
                      <a:pt x="1714" y="1140"/>
                      <a:pt x="1598" y="1025"/>
                      <a:pt x="1456" y="1025"/>
                    </a:cubicBezTo>
                    <a:close/>
                    <a:moveTo>
                      <a:pt x="1545" y="1351"/>
                    </a:moveTo>
                    <a:cubicBezTo>
                      <a:pt x="1545" y="1427"/>
                      <a:pt x="1545" y="1427"/>
                      <a:pt x="1545" y="1427"/>
                    </a:cubicBezTo>
                    <a:cubicBezTo>
                      <a:pt x="1545" y="1430"/>
                      <a:pt x="1543" y="1433"/>
                      <a:pt x="1540" y="1434"/>
                    </a:cubicBezTo>
                    <a:cubicBezTo>
                      <a:pt x="1490" y="1455"/>
                      <a:pt x="1425" y="1455"/>
                      <a:pt x="1420" y="1455"/>
                    </a:cubicBezTo>
                    <a:cubicBezTo>
                      <a:pt x="1420" y="1455"/>
                      <a:pt x="1420" y="1455"/>
                      <a:pt x="1420" y="1455"/>
                    </a:cubicBezTo>
                    <a:cubicBezTo>
                      <a:pt x="1416" y="1455"/>
                      <a:pt x="1413" y="1452"/>
                      <a:pt x="1413" y="1448"/>
                    </a:cubicBezTo>
                    <a:cubicBezTo>
                      <a:pt x="1413" y="1395"/>
                      <a:pt x="1413" y="1395"/>
                      <a:pt x="1413" y="1395"/>
                    </a:cubicBezTo>
                    <a:cubicBezTo>
                      <a:pt x="1382" y="1398"/>
                      <a:pt x="1358" y="1395"/>
                      <a:pt x="1351" y="1392"/>
                    </a:cubicBezTo>
                    <a:cubicBezTo>
                      <a:pt x="1343" y="1387"/>
                      <a:pt x="1343" y="1377"/>
                      <a:pt x="1341" y="1358"/>
                    </a:cubicBezTo>
                    <a:cubicBezTo>
                      <a:pt x="1341" y="1356"/>
                      <a:pt x="1341" y="1356"/>
                      <a:pt x="1341" y="1356"/>
                    </a:cubicBezTo>
                    <a:cubicBezTo>
                      <a:pt x="1340" y="1344"/>
                      <a:pt x="1342" y="1325"/>
                      <a:pt x="1343" y="1315"/>
                    </a:cubicBezTo>
                    <a:cubicBezTo>
                      <a:pt x="1320" y="1314"/>
                      <a:pt x="1314" y="1302"/>
                      <a:pt x="1312" y="1298"/>
                    </a:cubicBezTo>
                    <a:cubicBezTo>
                      <a:pt x="1309" y="1289"/>
                      <a:pt x="1318" y="1280"/>
                      <a:pt x="1327" y="1271"/>
                    </a:cubicBezTo>
                    <a:cubicBezTo>
                      <a:pt x="1328" y="1270"/>
                      <a:pt x="1328" y="1269"/>
                      <a:pt x="1329" y="1268"/>
                    </a:cubicBezTo>
                    <a:cubicBezTo>
                      <a:pt x="1333" y="1263"/>
                      <a:pt x="1338" y="1254"/>
                      <a:pt x="1342" y="1243"/>
                    </a:cubicBezTo>
                    <a:cubicBezTo>
                      <a:pt x="1343" y="1240"/>
                      <a:pt x="1344" y="1235"/>
                      <a:pt x="1345" y="1230"/>
                    </a:cubicBezTo>
                    <a:cubicBezTo>
                      <a:pt x="1346" y="1223"/>
                      <a:pt x="1348" y="1216"/>
                      <a:pt x="1350" y="1211"/>
                    </a:cubicBezTo>
                    <a:cubicBezTo>
                      <a:pt x="1352" y="1204"/>
                      <a:pt x="1353" y="1185"/>
                      <a:pt x="1354" y="1175"/>
                    </a:cubicBezTo>
                    <a:cubicBezTo>
                      <a:pt x="1353" y="1175"/>
                      <a:pt x="1351" y="1176"/>
                      <a:pt x="1350" y="1176"/>
                    </a:cubicBezTo>
                    <a:cubicBezTo>
                      <a:pt x="1350" y="1176"/>
                      <a:pt x="1350" y="1176"/>
                      <a:pt x="1349" y="1175"/>
                    </a:cubicBezTo>
                    <a:cubicBezTo>
                      <a:pt x="1345" y="1158"/>
                      <a:pt x="1321" y="1131"/>
                      <a:pt x="1329" y="1131"/>
                    </a:cubicBezTo>
                    <a:cubicBezTo>
                      <a:pt x="1405" y="1133"/>
                      <a:pt x="1381" y="1112"/>
                      <a:pt x="1463" y="1112"/>
                    </a:cubicBezTo>
                    <a:cubicBezTo>
                      <a:pt x="1536" y="1112"/>
                      <a:pt x="1572" y="1155"/>
                      <a:pt x="1589" y="1192"/>
                    </a:cubicBezTo>
                    <a:cubicBezTo>
                      <a:pt x="1621" y="1259"/>
                      <a:pt x="1570" y="1325"/>
                      <a:pt x="1545" y="1351"/>
                    </a:cubicBezTo>
                    <a:close/>
                    <a:moveTo>
                      <a:pt x="748" y="1006"/>
                    </a:moveTo>
                    <a:cubicBezTo>
                      <a:pt x="748" y="1004"/>
                      <a:pt x="747" y="1003"/>
                      <a:pt x="746" y="1002"/>
                    </a:cubicBezTo>
                    <a:cubicBezTo>
                      <a:pt x="735" y="983"/>
                      <a:pt x="730" y="961"/>
                      <a:pt x="730" y="939"/>
                    </a:cubicBezTo>
                    <a:cubicBezTo>
                      <a:pt x="730" y="927"/>
                      <a:pt x="720" y="917"/>
                      <a:pt x="708" y="917"/>
                    </a:cubicBezTo>
                    <a:cubicBezTo>
                      <a:pt x="696" y="917"/>
                      <a:pt x="686" y="927"/>
                      <a:pt x="686" y="939"/>
                    </a:cubicBezTo>
                    <a:cubicBezTo>
                      <a:pt x="686" y="962"/>
                      <a:pt x="690" y="984"/>
                      <a:pt x="699" y="1005"/>
                    </a:cubicBezTo>
                    <a:cubicBezTo>
                      <a:pt x="471" y="1136"/>
                      <a:pt x="471" y="1136"/>
                      <a:pt x="471" y="1136"/>
                    </a:cubicBezTo>
                    <a:cubicBezTo>
                      <a:pt x="424" y="1069"/>
                      <a:pt x="347" y="1025"/>
                      <a:pt x="258" y="1025"/>
                    </a:cubicBezTo>
                    <a:cubicBezTo>
                      <a:pt x="116" y="1025"/>
                      <a:pt x="0" y="1140"/>
                      <a:pt x="0" y="1283"/>
                    </a:cubicBezTo>
                    <a:cubicBezTo>
                      <a:pt x="0" y="1426"/>
                      <a:pt x="116" y="1542"/>
                      <a:pt x="258" y="1542"/>
                    </a:cubicBezTo>
                    <a:cubicBezTo>
                      <a:pt x="401" y="1542"/>
                      <a:pt x="517" y="1426"/>
                      <a:pt x="517" y="1283"/>
                    </a:cubicBezTo>
                    <a:cubicBezTo>
                      <a:pt x="517" y="1244"/>
                      <a:pt x="509" y="1207"/>
                      <a:pt x="493" y="1174"/>
                    </a:cubicBezTo>
                    <a:cubicBezTo>
                      <a:pt x="739" y="1033"/>
                      <a:pt x="739" y="1033"/>
                      <a:pt x="739" y="1033"/>
                    </a:cubicBezTo>
                    <a:cubicBezTo>
                      <a:pt x="748" y="1027"/>
                      <a:pt x="752" y="1016"/>
                      <a:pt x="748" y="1006"/>
                    </a:cubicBezTo>
                    <a:close/>
                    <a:moveTo>
                      <a:pt x="406" y="1299"/>
                    </a:moveTo>
                    <a:cubicBezTo>
                      <a:pt x="403" y="1305"/>
                      <a:pt x="394" y="1314"/>
                      <a:pt x="375" y="1314"/>
                    </a:cubicBezTo>
                    <a:cubicBezTo>
                      <a:pt x="375" y="1320"/>
                      <a:pt x="375" y="1329"/>
                      <a:pt x="375" y="1337"/>
                    </a:cubicBezTo>
                    <a:cubicBezTo>
                      <a:pt x="376" y="1368"/>
                      <a:pt x="372" y="1377"/>
                      <a:pt x="368" y="1381"/>
                    </a:cubicBezTo>
                    <a:cubicBezTo>
                      <a:pt x="364" y="1384"/>
                      <a:pt x="356" y="1389"/>
                      <a:pt x="326" y="1388"/>
                    </a:cubicBezTo>
                    <a:cubicBezTo>
                      <a:pt x="322" y="1388"/>
                      <a:pt x="311" y="1388"/>
                      <a:pt x="303" y="1387"/>
                    </a:cubicBezTo>
                    <a:cubicBezTo>
                      <a:pt x="303" y="1444"/>
                      <a:pt x="303" y="1444"/>
                      <a:pt x="303" y="1444"/>
                    </a:cubicBezTo>
                    <a:cubicBezTo>
                      <a:pt x="303" y="1448"/>
                      <a:pt x="300" y="1451"/>
                      <a:pt x="297" y="1451"/>
                    </a:cubicBezTo>
                    <a:cubicBezTo>
                      <a:pt x="296" y="1451"/>
                      <a:pt x="293" y="1452"/>
                      <a:pt x="289" y="1452"/>
                    </a:cubicBezTo>
                    <a:cubicBezTo>
                      <a:pt x="273" y="1452"/>
                      <a:pt x="236" y="1449"/>
                      <a:pt x="205" y="1431"/>
                    </a:cubicBezTo>
                    <a:cubicBezTo>
                      <a:pt x="203" y="1430"/>
                      <a:pt x="202" y="1428"/>
                      <a:pt x="202" y="1425"/>
                    </a:cubicBezTo>
                    <a:cubicBezTo>
                      <a:pt x="200" y="1388"/>
                      <a:pt x="200" y="1388"/>
                      <a:pt x="200" y="1388"/>
                    </a:cubicBezTo>
                    <a:cubicBezTo>
                      <a:pt x="151" y="1368"/>
                      <a:pt x="73" y="1311"/>
                      <a:pt x="132" y="1189"/>
                    </a:cubicBezTo>
                    <a:cubicBezTo>
                      <a:pt x="149" y="1153"/>
                      <a:pt x="191" y="1115"/>
                      <a:pt x="261" y="1115"/>
                    </a:cubicBezTo>
                    <a:cubicBezTo>
                      <a:pt x="341" y="1115"/>
                      <a:pt x="375" y="1152"/>
                      <a:pt x="371" y="1168"/>
                    </a:cubicBezTo>
                    <a:cubicBezTo>
                      <a:pt x="369" y="1171"/>
                      <a:pt x="367" y="1174"/>
                      <a:pt x="366" y="1177"/>
                    </a:cubicBezTo>
                    <a:cubicBezTo>
                      <a:pt x="369" y="1182"/>
                      <a:pt x="379" y="1195"/>
                      <a:pt x="377" y="1216"/>
                    </a:cubicBezTo>
                    <a:cubicBezTo>
                      <a:pt x="376" y="1226"/>
                      <a:pt x="377" y="1245"/>
                      <a:pt x="379" y="1248"/>
                    </a:cubicBezTo>
                    <a:cubicBezTo>
                      <a:pt x="382" y="1255"/>
                      <a:pt x="387" y="1265"/>
                      <a:pt x="393" y="1271"/>
                    </a:cubicBezTo>
                    <a:cubicBezTo>
                      <a:pt x="400" y="1278"/>
                      <a:pt x="409" y="1291"/>
                      <a:pt x="406" y="1299"/>
                    </a:cubicBezTo>
                    <a:close/>
                  </a:path>
                </a:pathLst>
              </a:custGeom>
              <a:solidFill>
                <a:srgbClr val="005674">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46" name="Rectangle 45">
            <a:extLst>
              <a:ext uri="{FF2B5EF4-FFF2-40B4-BE49-F238E27FC236}">
                <a16:creationId xmlns:a16="http://schemas.microsoft.com/office/drawing/2014/main" id="{9EFB6EE9-853E-4AF9-8852-ABADF68BC693}"/>
              </a:ext>
            </a:extLst>
          </p:cNvPr>
          <p:cNvSpPr/>
          <p:nvPr/>
        </p:nvSpPr>
        <p:spPr>
          <a:xfrm>
            <a:off x="100720" y="532311"/>
            <a:ext cx="3951298" cy="4647426"/>
          </a:xfrm>
          <a:prstGeom prst="rect">
            <a:avLst/>
          </a:prstGeom>
        </p:spPr>
        <p:txBody>
          <a:bodyPr wrap="square">
            <a:spAutoFit/>
          </a:bodyPr>
          <a:lstStyle/>
          <a:p>
            <a:br>
              <a:rPr lang="en-US" sz="3200" b="1">
                <a:solidFill>
                  <a:srgbClr val="FFFFFF"/>
                </a:solidFill>
                <a:ea typeface="+mj-ea"/>
                <a:cs typeface="Calibri Light"/>
                <a:sym typeface="+mj-lt"/>
              </a:rPr>
            </a:br>
            <a:r>
              <a:rPr lang="en-US" sz="4000" b="1">
                <a:solidFill>
                  <a:srgbClr val="FFFFFF"/>
                </a:solidFill>
                <a:ea typeface="+mj-ea"/>
                <a:cs typeface="Calibri Light"/>
                <a:sym typeface="+mj-lt"/>
              </a:rPr>
              <a:t>What We Offer</a:t>
            </a:r>
            <a:br>
              <a:rPr lang="en-US" sz="3200" b="1">
                <a:solidFill>
                  <a:srgbClr val="FFFFFF"/>
                </a:solidFill>
                <a:ea typeface="+mj-ea"/>
                <a:cs typeface="Calibri Light"/>
                <a:sym typeface="+mj-lt"/>
              </a:rPr>
            </a:br>
            <a:endParaRPr lang="en-US" sz="3200" b="1">
              <a:solidFill>
                <a:srgbClr val="FFFFFF"/>
              </a:solidFill>
              <a:ea typeface="+mj-ea"/>
              <a:cs typeface="Calibri Light"/>
              <a:sym typeface="+mj-lt"/>
            </a:endParaRPr>
          </a:p>
          <a:p>
            <a:br>
              <a:rPr lang="en-US" sz="3200" b="1">
                <a:solidFill>
                  <a:srgbClr val="FFFFFF"/>
                </a:solidFill>
                <a:ea typeface="+mj-ea"/>
                <a:cs typeface="Calibri Light"/>
                <a:sym typeface="+mj-lt"/>
              </a:rPr>
            </a:br>
            <a:r>
              <a:rPr lang="en-US" sz="3200" b="1">
                <a:solidFill>
                  <a:srgbClr val="FFFFFF"/>
                </a:solidFill>
                <a:ea typeface="+mj-ea"/>
                <a:cs typeface="Calibri Light"/>
                <a:sym typeface="+mj-lt"/>
              </a:rPr>
              <a:t>Learning Passport Modalities: </a:t>
            </a:r>
            <a:br>
              <a:rPr lang="en-US" sz="3200" b="1">
                <a:solidFill>
                  <a:srgbClr val="FFFFFF"/>
                </a:solidFill>
                <a:ea typeface="+mj-ea"/>
                <a:cs typeface="Calibri Light"/>
                <a:sym typeface="+mj-lt"/>
              </a:rPr>
            </a:br>
            <a:r>
              <a:rPr lang="en-US" sz="3200">
                <a:solidFill>
                  <a:srgbClr val="FFFFFF"/>
                </a:solidFill>
                <a:ea typeface="+mj-ea"/>
                <a:cs typeface="Calibri Light"/>
                <a:sym typeface="+mj-lt"/>
              </a:rPr>
              <a:t>- Online Portal </a:t>
            </a:r>
            <a:br>
              <a:rPr lang="en-US" sz="3200">
                <a:solidFill>
                  <a:srgbClr val="FFFFFF"/>
                </a:solidFill>
                <a:ea typeface="+mj-ea"/>
                <a:cs typeface="Calibri Light"/>
                <a:sym typeface="+mj-lt"/>
              </a:rPr>
            </a:br>
            <a:r>
              <a:rPr lang="en-US" sz="3200">
                <a:solidFill>
                  <a:srgbClr val="FFFFFF"/>
                </a:solidFill>
                <a:ea typeface="+mj-ea"/>
                <a:cs typeface="Calibri Light"/>
                <a:sym typeface="+mj-lt"/>
              </a:rPr>
              <a:t>- Mobile App </a:t>
            </a:r>
            <a:br>
              <a:rPr lang="en-US" sz="3200">
                <a:solidFill>
                  <a:srgbClr val="FFFFFF"/>
                </a:solidFill>
                <a:ea typeface="+mj-ea"/>
                <a:cs typeface="Calibri Light"/>
                <a:sym typeface="+mj-lt"/>
              </a:rPr>
            </a:br>
            <a:r>
              <a:rPr lang="en-US" sz="3200">
                <a:solidFill>
                  <a:srgbClr val="FFFFFF"/>
                </a:solidFill>
                <a:ea typeface="+mj-ea"/>
                <a:cs typeface="Calibri Light"/>
                <a:sym typeface="+mj-lt"/>
              </a:rPr>
              <a:t>- Offline Model</a:t>
            </a:r>
            <a:endParaRPr lang="en-US"/>
          </a:p>
        </p:txBody>
      </p:sp>
    </p:spTree>
    <p:extLst>
      <p:ext uri="{BB962C8B-B14F-4D97-AF65-F5344CB8AC3E}">
        <p14:creationId xmlns:p14="http://schemas.microsoft.com/office/powerpoint/2010/main" val="31780386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63"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p:txBody>
          <a:bodyPr/>
          <a:lstStyle/>
          <a:p>
            <a:r>
              <a:rPr lang="en-US" b="1"/>
              <a:t>Want to find </a:t>
            </a:r>
            <a:br>
              <a:rPr lang="en-US" b="1"/>
            </a:br>
            <a:r>
              <a:rPr lang="en-US" b="1"/>
              <a:t>out more or get involved?</a:t>
            </a:r>
          </a:p>
        </p:txBody>
      </p:sp>
      <p:sp>
        <p:nvSpPr>
          <p:cNvPr id="7" name="TextBox 6"/>
          <p:cNvSpPr txBox="1"/>
          <p:nvPr/>
        </p:nvSpPr>
        <p:spPr>
          <a:xfrm>
            <a:off x="5880278" y="1623786"/>
            <a:ext cx="5638800" cy="4108906"/>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08000" lvl="1">
              <a:buClr>
                <a:prstClr val="white">
                  <a:lumMod val="50000"/>
                </a:prstClr>
              </a:buClr>
              <a:buSzPct val="100000"/>
            </a:pPr>
            <a:r>
              <a:rPr lang="en-US" sz="3600" b="1" dirty="0">
                <a:solidFill>
                  <a:schemeClr val="bg2">
                    <a:lumMod val="10000"/>
                  </a:schemeClr>
                </a:solidFill>
                <a:latin typeface="+mj-lt"/>
                <a:cs typeface="Segoe UI" panose="020B0502040204020203" pitchFamily="34" charset="0"/>
              </a:rPr>
              <a:t>Mac </a:t>
            </a:r>
            <a:r>
              <a:rPr lang="en-US" sz="3600" b="1" dirty="0" err="1">
                <a:solidFill>
                  <a:schemeClr val="bg2">
                    <a:lumMod val="10000"/>
                  </a:schemeClr>
                </a:solidFill>
                <a:latin typeface="+mj-lt"/>
                <a:cs typeface="Segoe UI" panose="020B0502040204020203" pitchFamily="34" charset="0"/>
              </a:rPr>
              <a:t>Glovinsky</a:t>
            </a:r>
            <a:endParaRPr lang="en-US" sz="3600" b="1" dirty="0">
              <a:solidFill>
                <a:schemeClr val="bg2">
                  <a:lumMod val="10000"/>
                </a:schemeClr>
              </a:solidFill>
              <a:latin typeface="+mj-lt"/>
              <a:cs typeface="Segoe UI" panose="020B0502040204020203" pitchFamily="34" charset="0"/>
            </a:endParaRPr>
          </a:p>
          <a:p>
            <a:pPr marL="108000" lvl="1">
              <a:buClr>
                <a:prstClr val="white">
                  <a:lumMod val="50000"/>
                </a:prstClr>
              </a:buClr>
              <a:buSzPct val="100000"/>
            </a:pPr>
            <a:r>
              <a:rPr lang="en-US" sz="2800" dirty="0">
                <a:solidFill>
                  <a:schemeClr val="bg2">
                    <a:lumMod val="10000"/>
                  </a:schemeClr>
                </a:solidFill>
                <a:latin typeface="+mj-lt"/>
                <a:cs typeface="Segoe UI" panose="020B0502040204020203" pitchFamily="34" charset="0"/>
              </a:rPr>
              <a:t>Global Learning Passport Lead</a:t>
            </a:r>
          </a:p>
          <a:p>
            <a:pPr marL="108000" lvl="1">
              <a:buClr>
                <a:prstClr val="white">
                  <a:lumMod val="50000"/>
                </a:prstClr>
              </a:buClr>
              <a:buSzPct val="100000"/>
            </a:pPr>
            <a:r>
              <a:rPr lang="en-US" sz="2800" dirty="0">
                <a:solidFill>
                  <a:srgbClr val="662D91"/>
                </a:solidFill>
                <a:latin typeface="+mj-lt"/>
                <a:cs typeface="Segoe UI" panose="020B0502040204020203" pitchFamily="34" charset="0"/>
                <a:hlinkClick r:id="rId8">
                  <a:extLst>
                    <a:ext uri="{A12FA001-AC4F-418D-AE19-62706E023703}">
                      <ahyp:hlinkClr xmlns:ahyp="http://schemas.microsoft.com/office/drawing/2018/hyperlinkcolor" val="tx"/>
                    </a:ext>
                  </a:extLst>
                </a:hlinkClick>
              </a:rPr>
              <a:t>mglovinsky@unicef.org</a:t>
            </a:r>
            <a:r>
              <a:rPr lang="en-US" sz="2800" dirty="0">
                <a:solidFill>
                  <a:srgbClr val="662D91"/>
                </a:solidFill>
                <a:latin typeface="+mj-lt"/>
                <a:cs typeface="Segoe UI" panose="020B0502040204020203" pitchFamily="34" charset="0"/>
              </a:rPr>
              <a:t> </a:t>
            </a:r>
          </a:p>
          <a:p>
            <a:pPr marL="108000" lvl="1">
              <a:buClr>
                <a:prstClr val="white">
                  <a:lumMod val="50000"/>
                </a:prstClr>
              </a:buClr>
              <a:buSzPct val="100000"/>
            </a:pPr>
            <a:endParaRPr lang="en-US" sz="2400" b="1" dirty="0">
              <a:solidFill>
                <a:srgbClr val="77777A"/>
              </a:solidFill>
              <a:latin typeface="+mj-lt"/>
            </a:endParaRPr>
          </a:p>
          <a:p>
            <a:pPr marL="108000" lvl="1">
              <a:buClr>
                <a:schemeClr val="bg1">
                  <a:lumMod val="50000"/>
                </a:schemeClr>
              </a:buClr>
              <a:buSzPct val="100000"/>
            </a:pPr>
            <a:endParaRPr lang="en-US" sz="3600" b="1" dirty="0">
              <a:solidFill>
                <a:schemeClr val="bg2">
                  <a:lumMod val="10000"/>
                </a:schemeClr>
              </a:solidFill>
              <a:latin typeface="+mj-lt"/>
              <a:cs typeface="Segoe UI" panose="020B0502040204020203" pitchFamily="34" charset="0"/>
            </a:endParaRPr>
          </a:p>
          <a:p>
            <a:pPr marL="108000" lvl="1">
              <a:buClr>
                <a:schemeClr val="bg1">
                  <a:lumMod val="50000"/>
                </a:schemeClr>
              </a:buClr>
              <a:buSzPct val="100000"/>
            </a:pPr>
            <a:r>
              <a:rPr lang="en-US" sz="3600" b="1" dirty="0">
                <a:solidFill>
                  <a:schemeClr val="bg2">
                    <a:lumMod val="10000"/>
                  </a:schemeClr>
                </a:solidFill>
                <a:latin typeface="+mj-lt"/>
                <a:cs typeface="Segoe UI" panose="020B0502040204020203" pitchFamily="34" charset="0"/>
              </a:rPr>
              <a:t>Visit our website</a:t>
            </a:r>
            <a:r>
              <a:rPr lang="en-US" sz="3600" dirty="0">
                <a:solidFill>
                  <a:schemeClr val="bg2">
                    <a:lumMod val="10000"/>
                  </a:schemeClr>
                </a:solidFill>
                <a:latin typeface="+mj-lt"/>
                <a:cs typeface="Segoe UI" panose="020B0502040204020203" pitchFamily="34" charset="0"/>
              </a:rPr>
              <a:t> </a:t>
            </a:r>
            <a:r>
              <a:rPr lang="en-US" sz="2800" dirty="0">
                <a:solidFill>
                  <a:srgbClr val="662D91"/>
                </a:solidFill>
                <a:latin typeface="+mj-lt"/>
                <a:cs typeface="Segoe UI" panose="020B0502040204020203" pitchFamily="34" charset="0"/>
                <a:hlinkClick r:id="rId9">
                  <a:extLst>
                    <a:ext uri="{A12FA001-AC4F-418D-AE19-62706E023703}">
                      <ahyp:hlinkClr xmlns:ahyp="http://schemas.microsoft.com/office/drawing/2018/hyperlinkcolor" val="tx"/>
                    </a:ext>
                  </a:extLst>
                </a:hlinkClick>
              </a:rPr>
              <a:t>learningpassport.org</a:t>
            </a:r>
            <a:endParaRPr lang="en-US" sz="2800" dirty="0">
              <a:solidFill>
                <a:srgbClr val="662D91"/>
              </a:solidFill>
              <a:latin typeface="+mj-lt"/>
              <a:cs typeface="Segoe UI" panose="020B0502040204020203" pitchFamily="34" charset="0"/>
            </a:endParaRPr>
          </a:p>
          <a:p>
            <a:pPr marL="108000" lvl="1">
              <a:buClr>
                <a:schemeClr val="bg1">
                  <a:lumMod val="50000"/>
                </a:schemeClr>
              </a:buClr>
              <a:buSzPct val="100000"/>
            </a:pPr>
            <a:endParaRPr lang="en-US" sz="2400" b="1" dirty="0">
              <a:solidFill>
                <a:srgbClr val="77777A"/>
              </a:solidFill>
              <a:latin typeface="+mj-lt"/>
            </a:endParaRPr>
          </a:p>
          <a:p>
            <a:pPr marL="108000" lvl="1">
              <a:buClr>
                <a:schemeClr val="bg1">
                  <a:lumMod val="50000"/>
                </a:schemeClr>
              </a:buClr>
              <a:buSzPct val="100000"/>
            </a:pPr>
            <a:endParaRPr lang="en-US" sz="2400" b="1" dirty="0">
              <a:solidFill>
                <a:srgbClr val="77777A"/>
              </a:solidFill>
              <a:latin typeface="+mj-lt"/>
            </a:endParaRPr>
          </a:p>
        </p:txBody>
      </p:sp>
      <p:graphicFrame>
        <p:nvGraphicFramePr>
          <p:cNvPr id="8" name="Object 7" hidden="1"/>
          <p:cNvGraphicFramePr>
            <a:graphicFrameLocks noChangeAspect="1"/>
          </p:cNvGraphicFramePr>
          <p:nvPr>
            <p:custDataLst>
              <p:tags r:id="rId4"/>
            </p:custDataLst>
            <p:extLst>
              <p:ext uri="{D42A27DB-BD31-4B8C-83A1-F6EECF244321}">
                <p14:modId xmlns:p14="http://schemas.microsoft.com/office/powerpoint/2010/main" val="384966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64" name="think-cell Slide" r:id="rId10" imgW="352" imgH="355" progId="TCLayout.ActiveDocument.1">
                  <p:embed/>
                </p:oleObj>
              </mc:Choice>
              <mc:Fallback>
                <p:oleObj name="think-cell Slide" r:id="rId10" imgW="352" imgH="355" progId="TCLayout.ActiveDocument.1">
                  <p:embed/>
                  <p:pic>
                    <p:nvPicPr>
                      <p:cNvPr id="8" name="Object 7"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extBox 1"/>
          <p:cNvSpPr txBox="1"/>
          <p:nvPr/>
        </p:nvSpPr>
        <p:spPr>
          <a:xfrm>
            <a:off x="6307078" y="6464774"/>
            <a:ext cx="914400" cy="914400"/>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77777A"/>
              </a:solidFill>
            </a:endParaRPr>
          </a:p>
        </p:txBody>
      </p:sp>
    </p:spTree>
    <p:extLst>
      <p:ext uri="{BB962C8B-B14F-4D97-AF65-F5344CB8AC3E}">
        <p14:creationId xmlns:p14="http://schemas.microsoft.com/office/powerpoint/2010/main" val="502100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4"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p:cNvSpPr/>
          <p:nvPr/>
        </p:nvSpPr>
        <p:spPr>
          <a:xfrm>
            <a:off x="4978400" y="1739900"/>
            <a:ext cx="7035800" cy="29972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xmlns="">
                <a:solidFill>
                  <a:srgbClr val="29BA74"/>
                </a:solidFill>
              </a14:hiddenFill>
            </a:ext>
            <a:ext uri="{91240B29-F687-4f45-9708-019B960494DF}">
              <a14:hiddenLine xmlns:a14="http://schemas.microsoft.com/office/drawing/2010/main" xmlns=""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600" dirty="0">
                <a:solidFill>
                  <a:srgbClr val="FFFFFF"/>
                </a:solidFill>
              </a:rPr>
              <a:t>On behalf of the </a:t>
            </a:r>
          </a:p>
          <a:p>
            <a:pPr algn="ctr"/>
            <a:r>
              <a:rPr lang="en-US" sz="3600" dirty="0">
                <a:solidFill>
                  <a:srgbClr val="FFFFFF"/>
                </a:solidFill>
              </a:rPr>
              <a:t>Learning Passport team </a:t>
            </a:r>
          </a:p>
          <a:p>
            <a:pPr algn="ctr"/>
            <a:r>
              <a:rPr lang="en-US" sz="3600" dirty="0">
                <a:solidFill>
                  <a:srgbClr val="FFFFFF"/>
                </a:solidFill>
              </a:rPr>
              <a:t>and our partners</a:t>
            </a:r>
          </a:p>
          <a:p>
            <a:pPr algn="ctr"/>
            <a:r>
              <a:rPr lang="en-US" sz="3600" b="1" dirty="0">
                <a:solidFill>
                  <a:srgbClr val="FFFFFF"/>
                </a:solidFill>
              </a:rPr>
              <a:t> </a:t>
            </a:r>
          </a:p>
          <a:p>
            <a:pPr algn="ctr"/>
            <a:r>
              <a:rPr lang="en-US" sz="4000" b="1" dirty="0">
                <a:solidFill>
                  <a:srgbClr val="FFFFFF"/>
                </a:solidFill>
              </a:rPr>
              <a:t>Thank you!</a:t>
            </a:r>
          </a:p>
        </p:txBody>
      </p:sp>
      <p:pic>
        <p:nvPicPr>
          <p:cNvPr id="6" name="Picture 5"/>
          <p:cNvPicPr>
            <a:picLocks noChangeAspect="1"/>
          </p:cNvPicPr>
          <p:nvPr/>
        </p:nvPicPr>
        <p:blipFill rotWithShape="1">
          <a:blip r:embed="rId6">
            <a:extLst>
              <a:ext uri="{28A0092B-C50C-407E-A947-70E740481C1C}">
                <a14:useLocalDpi xmlns:a14="http://schemas.microsoft.com/office/drawing/2010/main" val="0"/>
              </a:ext>
            </a:extLst>
          </a:blip>
          <a:srcRect r="53650"/>
          <a:stretch/>
        </p:blipFill>
        <p:spPr>
          <a:xfrm>
            <a:off x="0" y="0"/>
            <a:ext cx="4765964" cy="6858000"/>
          </a:xfrm>
          <a:prstGeom prst="rect">
            <a:avLst/>
          </a:prstGeom>
        </p:spPr>
      </p:pic>
    </p:spTree>
    <p:extLst>
      <p:ext uri="{BB962C8B-B14F-4D97-AF65-F5344CB8AC3E}">
        <p14:creationId xmlns:p14="http://schemas.microsoft.com/office/powerpoint/2010/main" val="3611930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11"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a:xfrm>
            <a:off x="2968752" y="2930402"/>
            <a:ext cx="6254496" cy="609398"/>
          </a:xfrm>
        </p:spPr>
        <p:txBody>
          <a:bodyPr/>
          <a:lstStyle/>
          <a:p>
            <a:r>
              <a:rPr lang="en-US" sz="4400"/>
              <a:t>Appendix </a:t>
            </a:r>
          </a:p>
        </p:txBody>
      </p:sp>
      <p:graphicFrame>
        <p:nvGraphicFramePr>
          <p:cNvPr id="8" name="Object 7" hidden="1"/>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12" name="think-cell Slide" r:id="rId8" imgW="352" imgH="355" progId="TCLayout.ActiveDocument.1">
                  <p:embed/>
                </p:oleObj>
              </mc:Choice>
              <mc:Fallback>
                <p:oleObj name="think-cell Slide" r:id="rId8" imgW="352" imgH="355" progId="TCLayout.ActiveDocument.1">
                  <p:embed/>
                  <p:pic>
                    <p:nvPicPr>
                      <p:cNvPr id="8" name="Object 7"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extBox 1"/>
          <p:cNvSpPr txBox="1"/>
          <p:nvPr/>
        </p:nvSpPr>
        <p:spPr>
          <a:xfrm>
            <a:off x="6307078" y="6464774"/>
            <a:ext cx="914400" cy="914400"/>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77777A"/>
              </a:solidFill>
            </a:endParaRPr>
          </a:p>
        </p:txBody>
      </p:sp>
    </p:spTree>
    <p:extLst>
      <p:ext uri="{BB962C8B-B14F-4D97-AF65-F5344CB8AC3E}">
        <p14:creationId xmlns:p14="http://schemas.microsoft.com/office/powerpoint/2010/main" val="2900752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9682" name="Picture 2" descr="LP Deployment Journey Infographic">
            <a:extLst>
              <a:ext uri="{FF2B5EF4-FFF2-40B4-BE49-F238E27FC236}">
                <a16:creationId xmlns:a16="http://schemas.microsoft.com/office/drawing/2014/main" id="{2E86704D-560B-4922-A33B-DA25685A32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8044" y="1834617"/>
            <a:ext cx="8715911" cy="4885497"/>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0C98ECD9-0EEE-40C1-9C6B-69F7A2019228}"/>
              </a:ext>
            </a:extLst>
          </p:cNvPr>
          <p:cNvSpPr txBox="1">
            <a:spLocks/>
          </p:cNvSpPr>
          <p:nvPr/>
        </p:nvSpPr>
        <p:spPr>
          <a:xfrm>
            <a:off x="-1" y="0"/>
            <a:ext cx="12192000" cy="1714500"/>
          </a:xfrm>
          <a:prstGeom prst="rect">
            <a:avLst/>
          </a:prstGeom>
          <a:solidFill>
            <a:srgbClr val="00A4E1"/>
          </a:solidFill>
        </p:spPr>
        <p:txBody>
          <a:bodyPr anchor="ct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a:lstStyle>
          <a:p>
            <a:pPr marL="342900">
              <a:lnSpc>
                <a:spcPct val="100000"/>
              </a:lnSpc>
            </a:pPr>
            <a:r>
              <a:rPr lang="en-US" b="1">
                <a:solidFill>
                  <a:schemeClr val="bg1"/>
                </a:solidFill>
              </a:rPr>
              <a:t>Deployment Process</a:t>
            </a:r>
          </a:p>
          <a:p>
            <a:pPr marL="342900">
              <a:lnSpc>
                <a:spcPct val="100000"/>
              </a:lnSpc>
            </a:pPr>
            <a:endParaRPr lang="en-US" sz="500" b="1">
              <a:solidFill>
                <a:schemeClr val="bg1"/>
              </a:solidFill>
            </a:endParaRPr>
          </a:p>
          <a:p>
            <a:pPr marL="342900">
              <a:lnSpc>
                <a:spcPct val="100000"/>
              </a:lnSpc>
            </a:pPr>
            <a:r>
              <a:rPr lang="en-US" sz="2000">
                <a:solidFill>
                  <a:schemeClr val="bg1"/>
                </a:solidFill>
              </a:rPr>
              <a:t>The Learning Passport occurs once a country officially expresses an interest. Country offices, implementation &amp; technical teams, and other stakeholders will have access to support from our Global Team throughout the entire deployment journey.</a:t>
            </a:r>
          </a:p>
        </p:txBody>
      </p:sp>
    </p:spTree>
    <p:extLst>
      <p:ext uri="{BB962C8B-B14F-4D97-AF65-F5344CB8AC3E}">
        <p14:creationId xmlns:p14="http://schemas.microsoft.com/office/powerpoint/2010/main" val="2687717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5891" name="Picture 3" descr="TWIG EDUCATION - Imperial College London">
            <a:extLst>
              <a:ext uri="{FF2B5EF4-FFF2-40B4-BE49-F238E27FC236}">
                <a16:creationId xmlns:a16="http://schemas.microsoft.com/office/drawing/2014/main" id="{A5E532DD-DC29-41B7-B85D-954C281C9DC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4700" t="16179" r="25676" b="16847"/>
          <a:stretch/>
        </p:blipFill>
        <p:spPr bwMode="auto">
          <a:xfrm>
            <a:off x="7201385" y="1519328"/>
            <a:ext cx="853015" cy="76846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251253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56" name="think-cell Slide" r:id="rId7" imgW="473" imgH="473" progId="TCLayout.ActiveDocument.1">
                  <p:embed/>
                </p:oleObj>
              </mc:Choice>
              <mc:Fallback>
                <p:oleObj name="think-cell Slide" r:id="rId7" imgW="473" imgH="473"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Arial" panose="020B0604020202020204" pitchFamily="34" charset="0"/>
              <a:ea typeface="+mj-ea"/>
              <a:cs typeface="+mj-cs"/>
              <a:sym typeface="Arial" panose="020B0604020202020204" pitchFamily="34" charset="0"/>
            </a:endParaRPr>
          </a:p>
        </p:txBody>
      </p:sp>
      <p:grpSp>
        <p:nvGrpSpPr>
          <p:cNvPr id="82" name="Group 81"/>
          <p:cNvGrpSpPr/>
          <p:nvPr/>
        </p:nvGrpSpPr>
        <p:grpSpPr>
          <a:xfrm flipH="1">
            <a:off x="7849552" y="3888238"/>
            <a:ext cx="678640" cy="1858068"/>
            <a:chOff x="3290889" y="2086124"/>
            <a:chExt cx="1281111" cy="4093428"/>
          </a:xfrm>
        </p:grpSpPr>
        <p:cxnSp>
          <p:nvCxnSpPr>
            <p:cNvPr id="83" name="Straight Connector 82"/>
            <p:cNvCxnSpPr/>
            <p:nvPr/>
          </p:nvCxnSpPr>
          <p:spPr>
            <a:xfrm>
              <a:off x="3292610" y="2086124"/>
              <a:ext cx="0" cy="4093428"/>
            </a:xfrm>
            <a:prstGeom prst="line">
              <a:avLst/>
            </a:prstGeom>
            <a:ln w="9525">
              <a:solidFill>
                <a:schemeClr val="tx1">
                  <a:lumMod val="60000"/>
                  <a:lumOff val="40000"/>
                </a:schemeClr>
              </a:solidFill>
              <a:miter lim="800000"/>
              <a:headEnd type="oval"/>
              <a:tailEnd type="ova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cxnSpLocks/>
            </p:cNvCxnSpPr>
            <p:nvPr/>
          </p:nvCxnSpPr>
          <p:spPr>
            <a:xfrm flipH="1">
              <a:off x="3290889" y="3733023"/>
              <a:ext cx="1281111" cy="0"/>
            </a:xfrm>
            <a:prstGeom prst="line">
              <a:avLst/>
            </a:prstGeom>
            <a:ln w="9525">
              <a:solidFill>
                <a:schemeClr val="tx1">
                  <a:lumMod val="60000"/>
                  <a:lumOff val="4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5" name="Group 84"/>
          <p:cNvGrpSpPr/>
          <p:nvPr/>
        </p:nvGrpSpPr>
        <p:grpSpPr>
          <a:xfrm flipH="1">
            <a:off x="7683777" y="1706067"/>
            <a:ext cx="846137" cy="1858068"/>
            <a:chOff x="3290888" y="2086124"/>
            <a:chExt cx="846137" cy="4093428"/>
          </a:xfrm>
        </p:grpSpPr>
        <p:cxnSp>
          <p:nvCxnSpPr>
            <p:cNvPr id="86" name="Straight Connector 85"/>
            <p:cNvCxnSpPr/>
            <p:nvPr/>
          </p:nvCxnSpPr>
          <p:spPr>
            <a:xfrm>
              <a:off x="3292610" y="2086124"/>
              <a:ext cx="0" cy="4093428"/>
            </a:xfrm>
            <a:prstGeom prst="line">
              <a:avLst/>
            </a:prstGeom>
            <a:ln w="9525">
              <a:solidFill>
                <a:schemeClr val="tx1">
                  <a:lumMod val="60000"/>
                  <a:lumOff val="40000"/>
                </a:schemeClr>
              </a:solidFill>
              <a:miter lim="800000"/>
              <a:headEnd type="oval"/>
              <a:tailEnd type="ova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cxnSpLocks/>
            </p:cNvCxnSpPr>
            <p:nvPr/>
          </p:nvCxnSpPr>
          <p:spPr>
            <a:xfrm flipH="1">
              <a:off x="3290888" y="3894223"/>
              <a:ext cx="846137" cy="0"/>
            </a:xfrm>
            <a:prstGeom prst="line">
              <a:avLst/>
            </a:prstGeom>
            <a:ln w="9525">
              <a:solidFill>
                <a:schemeClr val="tx1">
                  <a:lumMod val="60000"/>
                  <a:lumOff val="4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8" name="Group 77"/>
          <p:cNvGrpSpPr/>
          <p:nvPr/>
        </p:nvGrpSpPr>
        <p:grpSpPr>
          <a:xfrm>
            <a:off x="3426791" y="3888238"/>
            <a:ext cx="1061844" cy="1858068"/>
            <a:chOff x="3290889" y="2086124"/>
            <a:chExt cx="1281111" cy="4093428"/>
          </a:xfrm>
        </p:grpSpPr>
        <p:cxnSp>
          <p:nvCxnSpPr>
            <p:cNvPr id="80" name="Straight Connector 79"/>
            <p:cNvCxnSpPr/>
            <p:nvPr/>
          </p:nvCxnSpPr>
          <p:spPr>
            <a:xfrm>
              <a:off x="3292610" y="2086124"/>
              <a:ext cx="0" cy="4093428"/>
            </a:xfrm>
            <a:prstGeom prst="line">
              <a:avLst/>
            </a:prstGeom>
            <a:ln w="9525">
              <a:solidFill>
                <a:schemeClr val="tx1">
                  <a:lumMod val="60000"/>
                  <a:lumOff val="40000"/>
                </a:schemeClr>
              </a:solidFill>
              <a:miter lim="800000"/>
              <a:headEnd type="oval"/>
              <a:tailEnd type="ova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cxnSpLocks/>
            </p:cNvCxnSpPr>
            <p:nvPr/>
          </p:nvCxnSpPr>
          <p:spPr>
            <a:xfrm flipH="1">
              <a:off x="3290889" y="3733023"/>
              <a:ext cx="1281111" cy="0"/>
            </a:xfrm>
            <a:prstGeom prst="line">
              <a:avLst/>
            </a:prstGeom>
            <a:ln w="9525">
              <a:solidFill>
                <a:schemeClr val="tx1">
                  <a:lumMod val="60000"/>
                  <a:lumOff val="4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73" name="Group 72"/>
          <p:cNvGrpSpPr/>
          <p:nvPr/>
        </p:nvGrpSpPr>
        <p:grpSpPr>
          <a:xfrm>
            <a:off x="3426791" y="1706067"/>
            <a:ext cx="498372" cy="1858068"/>
            <a:chOff x="3290888" y="2086124"/>
            <a:chExt cx="846137" cy="4093428"/>
          </a:xfrm>
        </p:grpSpPr>
        <p:cxnSp>
          <p:nvCxnSpPr>
            <p:cNvPr id="74" name="Straight Connector 73"/>
            <p:cNvCxnSpPr/>
            <p:nvPr/>
          </p:nvCxnSpPr>
          <p:spPr>
            <a:xfrm>
              <a:off x="3292610" y="2086124"/>
              <a:ext cx="0" cy="4093428"/>
            </a:xfrm>
            <a:prstGeom prst="line">
              <a:avLst/>
            </a:prstGeom>
            <a:ln w="9525">
              <a:solidFill>
                <a:schemeClr val="tx1">
                  <a:lumMod val="60000"/>
                  <a:lumOff val="40000"/>
                </a:schemeClr>
              </a:solidFill>
              <a:miter lim="800000"/>
              <a:headEnd type="oval"/>
              <a:tailEnd type="ova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cxnSpLocks/>
            </p:cNvCxnSpPr>
            <p:nvPr/>
          </p:nvCxnSpPr>
          <p:spPr>
            <a:xfrm flipH="1">
              <a:off x="3290888" y="4163156"/>
              <a:ext cx="846137" cy="0"/>
            </a:xfrm>
            <a:prstGeom prst="line">
              <a:avLst/>
            </a:prstGeom>
            <a:ln w="9525">
              <a:solidFill>
                <a:schemeClr val="tx1">
                  <a:lumMod val="60000"/>
                  <a:lumOff val="40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grpSp>
      <p:sp>
        <p:nvSpPr>
          <p:cNvPr id="69" name="Freeform 12"/>
          <p:cNvSpPr>
            <a:spLocks noEditPoints="1"/>
          </p:cNvSpPr>
          <p:nvPr/>
        </p:nvSpPr>
        <p:spPr bwMode="auto">
          <a:xfrm rot="20265298">
            <a:off x="6388057" y="3760447"/>
            <a:ext cx="1800815" cy="1782085"/>
          </a:xfrm>
          <a:custGeom>
            <a:avLst/>
            <a:gdLst>
              <a:gd name="T0" fmla="*/ 1219 w 1318"/>
              <a:gd name="T1" fmla="*/ 689 h 1302"/>
              <a:gd name="T2" fmla="*/ 1318 w 1318"/>
              <a:gd name="T3" fmla="*/ 630 h 1302"/>
              <a:gd name="T4" fmla="*/ 1307 w 1318"/>
              <a:gd name="T5" fmla="*/ 544 h 1302"/>
              <a:gd name="T6" fmla="*/ 1287 w 1318"/>
              <a:gd name="T7" fmla="*/ 459 h 1302"/>
              <a:gd name="T8" fmla="*/ 1169 w 1318"/>
              <a:gd name="T9" fmla="*/ 437 h 1302"/>
              <a:gd name="T10" fmla="*/ 1104 w 1318"/>
              <a:gd name="T11" fmla="*/ 333 h 1302"/>
              <a:gd name="T12" fmla="*/ 1146 w 1318"/>
              <a:gd name="T13" fmla="*/ 213 h 1302"/>
              <a:gd name="T14" fmla="*/ 1082 w 1318"/>
              <a:gd name="T15" fmla="*/ 154 h 1302"/>
              <a:gd name="T16" fmla="*/ 1013 w 1318"/>
              <a:gd name="T17" fmla="*/ 102 h 1302"/>
              <a:gd name="T18" fmla="*/ 891 w 1318"/>
              <a:gd name="T19" fmla="*/ 170 h 1302"/>
              <a:gd name="T20" fmla="*/ 796 w 1318"/>
              <a:gd name="T21" fmla="*/ 138 h 1302"/>
              <a:gd name="T22" fmla="*/ 746 w 1318"/>
              <a:gd name="T23" fmla="*/ 5 h 1302"/>
              <a:gd name="T24" fmla="*/ 659 w 1318"/>
              <a:gd name="T25" fmla="*/ 0 h 1302"/>
              <a:gd name="T26" fmla="*/ 573 w 1318"/>
              <a:gd name="T27" fmla="*/ 5 h 1302"/>
              <a:gd name="T28" fmla="*/ 522 w 1318"/>
              <a:gd name="T29" fmla="*/ 138 h 1302"/>
              <a:gd name="T30" fmla="*/ 428 w 1318"/>
              <a:gd name="T31" fmla="*/ 170 h 1302"/>
              <a:gd name="T32" fmla="*/ 306 w 1318"/>
              <a:gd name="T33" fmla="*/ 101 h 1302"/>
              <a:gd name="T34" fmla="*/ 236 w 1318"/>
              <a:gd name="T35" fmla="*/ 154 h 1302"/>
              <a:gd name="T36" fmla="*/ 173 w 1318"/>
              <a:gd name="T37" fmla="*/ 213 h 1302"/>
              <a:gd name="T38" fmla="*/ 215 w 1318"/>
              <a:gd name="T39" fmla="*/ 333 h 1302"/>
              <a:gd name="T40" fmla="*/ 150 w 1318"/>
              <a:gd name="T41" fmla="*/ 436 h 1302"/>
              <a:gd name="T42" fmla="*/ 31 w 1318"/>
              <a:gd name="T43" fmla="*/ 459 h 1302"/>
              <a:gd name="T44" fmla="*/ 11 w 1318"/>
              <a:gd name="T45" fmla="*/ 543 h 1302"/>
              <a:gd name="T46" fmla="*/ 0 w 1318"/>
              <a:gd name="T47" fmla="*/ 630 h 1302"/>
              <a:gd name="T48" fmla="*/ 100 w 1318"/>
              <a:gd name="T49" fmla="*/ 689 h 1302"/>
              <a:gd name="T50" fmla="*/ 124 w 1318"/>
              <a:gd name="T51" fmla="*/ 819 h 1302"/>
              <a:gd name="T52" fmla="*/ 50 w 1318"/>
              <a:gd name="T53" fmla="*/ 909 h 1302"/>
              <a:gd name="T54" fmla="*/ 89 w 1318"/>
              <a:gd name="T55" fmla="*/ 987 h 1302"/>
              <a:gd name="T56" fmla="*/ 136 w 1318"/>
              <a:gd name="T57" fmla="*/ 1060 h 1302"/>
              <a:gd name="T58" fmla="*/ 260 w 1318"/>
              <a:gd name="T59" fmla="*/ 1039 h 1302"/>
              <a:gd name="T60" fmla="*/ 352 w 1318"/>
              <a:gd name="T61" fmla="*/ 1112 h 1302"/>
              <a:gd name="T62" fmla="*/ 354 w 1318"/>
              <a:gd name="T63" fmla="*/ 1242 h 1302"/>
              <a:gd name="T64" fmla="*/ 434 w 1318"/>
              <a:gd name="T65" fmla="*/ 1276 h 1302"/>
              <a:gd name="T66" fmla="*/ 517 w 1318"/>
              <a:gd name="T67" fmla="*/ 1302 h 1302"/>
              <a:gd name="T68" fmla="*/ 606 w 1318"/>
              <a:gd name="T69" fmla="*/ 1197 h 1302"/>
              <a:gd name="T70" fmla="*/ 659 w 1318"/>
              <a:gd name="T71" fmla="*/ 1200 h 1302"/>
              <a:gd name="T72" fmla="*/ 711 w 1318"/>
              <a:gd name="T73" fmla="*/ 1198 h 1302"/>
              <a:gd name="T74" fmla="*/ 801 w 1318"/>
              <a:gd name="T75" fmla="*/ 1302 h 1302"/>
              <a:gd name="T76" fmla="*/ 884 w 1318"/>
              <a:gd name="T77" fmla="*/ 1277 h 1302"/>
              <a:gd name="T78" fmla="*/ 964 w 1318"/>
              <a:gd name="T79" fmla="*/ 1242 h 1302"/>
              <a:gd name="T80" fmla="*/ 965 w 1318"/>
              <a:gd name="T81" fmla="*/ 1112 h 1302"/>
              <a:gd name="T82" fmla="*/ 1058 w 1318"/>
              <a:gd name="T83" fmla="*/ 1040 h 1302"/>
              <a:gd name="T84" fmla="*/ 1181 w 1318"/>
              <a:gd name="T85" fmla="*/ 1060 h 1302"/>
              <a:gd name="T86" fmla="*/ 1229 w 1318"/>
              <a:gd name="T87" fmla="*/ 987 h 1302"/>
              <a:gd name="T88" fmla="*/ 1268 w 1318"/>
              <a:gd name="T89" fmla="*/ 910 h 1302"/>
              <a:gd name="T90" fmla="*/ 1195 w 1318"/>
              <a:gd name="T91" fmla="*/ 820 h 1302"/>
              <a:gd name="T92" fmla="*/ 1219 w 1318"/>
              <a:gd name="T93" fmla="*/ 689 h 1302"/>
              <a:gd name="T94" fmla="*/ 659 w 1318"/>
              <a:gd name="T95" fmla="*/ 1064 h 1302"/>
              <a:gd name="T96" fmla="*/ 256 w 1318"/>
              <a:gd name="T97" fmla="*/ 661 h 1302"/>
              <a:gd name="T98" fmla="*/ 659 w 1318"/>
              <a:gd name="T99" fmla="*/ 257 h 1302"/>
              <a:gd name="T100" fmla="*/ 1063 w 1318"/>
              <a:gd name="T101" fmla="*/ 661 h 1302"/>
              <a:gd name="T102" fmla="*/ 659 w 1318"/>
              <a:gd name="T103" fmla="*/ 1064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8" h="1302">
                <a:moveTo>
                  <a:pt x="1219" y="689"/>
                </a:moveTo>
                <a:cubicBezTo>
                  <a:pt x="1318" y="630"/>
                  <a:pt x="1318" y="630"/>
                  <a:pt x="1318" y="630"/>
                </a:cubicBezTo>
                <a:cubicBezTo>
                  <a:pt x="1315" y="591"/>
                  <a:pt x="1307" y="544"/>
                  <a:pt x="1307" y="544"/>
                </a:cubicBezTo>
                <a:cubicBezTo>
                  <a:pt x="1307" y="544"/>
                  <a:pt x="1299" y="497"/>
                  <a:pt x="1287" y="459"/>
                </a:cubicBezTo>
                <a:cubicBezTo>
                  <a:pt x="1169" y="437"/>
                  <a:pt x="1169" y="437"/>
                  <a:pt x="1169" y="437"/>
                </a:cubicBezTo>
                <a:cubicBezTo>
                  <a:pt x="1151" y="400"/>
                  <a:pt x="1129" y="365"/>
                  <a:pt x="1104" y="333"/>
                </a:cubicBezTo>
                <a:cubicBezTo>
                  <a:pt x="1146" y="213"/>
                  <a:pt x="1146" y="213"/>
                  <a:pt x="1146" y="213"/>
                </a:cubicBezTo>
                <a:cubicBezTo>
                  <a:pt x="1119" y="184"/>
                  <a:pt x="1082" y="154"/>
                  <a:pt x="1082" y="154"/>
                </a:cubicBezTo>
                <a:cubicBezTo>
                  <a:pt x="1082" y="154"/>
                  <a:pt x="1046" y="124"/>
                  <a:pt x="1013" y="102"/>
                </a:cubicBezTo>
                <a:cubicBezTo>
                  <a:pt x="891" y="170"/>
                  <a:pt x="891" y="170"/>
                  <a:pt x="891" y="170"/>
                </a:cubicBezTo>
                <a:cubicBezTo>
                  <a:pt x="861" y="157"/>
                  <a:pt x="829" y="146"/>
                  <a:pt x="796" y="138"/>
                </a:cubicBezTo>
                <a:cubicBezTo>
                  <a:pt x="746" y="5"/>
                  <a:pt x="746" y="5"/>
                  <a:pt x="746" y="5"/>
                </a:cubicBezTo>
                <a:cubicBezTo>
                  <a:pt x="707" y="0"/>
                  <a:pt x="659" y="0"/>
                  <a:pt x="659" y="0"/>
                </a:cubicBezTo>
                <a:cubicBezTo>
                  <a:pt x="659" y="0"/>
                  <a:pt x="612" y="0"/>
                  <a:pt x="573" y="5"/>
                </a:cubicBezTo>
                <a:cubicBezTo>
                  <a:pt x="522" y="138"/>
                  <a:pt x="522" y="138"/>
                  <a:pt x="522" y="138"/>
                </a:cubicBezTo>
                <a:cubicBezTo>
                  <a:pt x="489" y="146"/>
                  <a:pt x="458" y="157"/>
                  <a:pt x="428" y="170"/>
                </a:cubicBezTo>
                <a:cubicBezTo>
                  <a:pt x="306" y="101"/>
                  <a:pt x="306" y="101"/>
                  <a:pt x="306" y="101"/>
                </a:cubicBezTo>
                <a:cubicBezTo>
                  <a:pt x="272" y="123"/>
                  <a:pt x="236" y="154"/>
                  <a:pt x="236" y="154"/>
                </a:cubicBezTo>
                <a:cubicBezTo>
                  <a:pt x="236" y="154"/>
                  <a:pt x="200" y="184"/>
                  <a:pt x="173" y="213"/>
                </a:cubicBezTo>
                <a:cubicBezTo>
                  <a:pt x="215" y="333"/>
                  <a:pt x="215" y="333"/>
                  <a:pt x="215" y="333"/>
                </a:cubicBezTo>
                <a:cubicBezTo>
                  <a:pt x="189" y="365"/>
                  <a:pt x="168" y="399"/>
                  <a:pt x="150" y="436"/>
                </a:cubicBezTo>
                <a:cubicBezTo>
                  <a:pt x="31" y="459"/>
                  <a:pt x="31" y="459"/>
                  <a:pt x="31" y="459"/>
                </a:cubicBezTo>
                <a:cubicBezTo>
                  <a:pt x="19" y="497"/>
                  <a:pt x="11" y="543"/>
                  <a:pt x="11" y="543"/>
                </a:cubicBezTo>
                <a:cubicBezTo>
                  <a:pt x="11" y="543"/>
                  <a:pt x="3" y="590"/>
                  <a:pt x="0" y="630"/>
                </a:cubicBezTo>
                <a:cubicBezTo>
                  <a:pt x="100" y="689"/>
                  <a:pt x="100" y="689"/>
                  <a:pt x="100" y="689"/>
                </a:cubicBezTo>
                <a:cubicBezTo>
                  <a:pt x="102" y="734"/>
                  <a:pt x="110" y="777"/>
                  <a:pt x="124" y="819"/>
                </a:cubicBezTo>
                <a:cubicBezTo>
                  <a:pt x="50" y="909"/>
                  <a:pt x="50" y="909"/>
                  <a:pt x="50" y="909"/>
                </a:cubicBezTo>
                <a:cubicBezTo>
                  <a:pt x="65" y="946"/>
                  <a:pt x="89" y="987"/>
                  <a:pt x="89" y="987"/>
                </a:cubicBezTo>
                <a:cubicBezTo>
                  <a:pt x="89" y="987"/>
                  <a:pt x="113" y="1028"/>
                  <a:pt x="136" y="1060"/>
                </a:cubicBezTo>
                <a:cubicBezTo>
                  <a:pt x="260" y="1039"/>
                  <a:pt x="260" y="1039"/>
                  <a:pt x="260" y="1039"/>
                </a:cubicBezTo>
                <a:cubicBezTo>
                  <a:pt x="288" y="1066"/>
                  <a:pt x="319" y="1091"/>
                  <a:pt x="352" y="1112"/>
                </a:cubicBezTo>
                <a:cubicBezTo>
                  <a:pt x="354" y="1242"/>
                  <a:pt x="354" y="1242"/>
                  <a:pt x="354" y="1242"/>
                </a:cubicBezTo>
                <a:cubicBezTo>
                  <a:pt x="389" y="1260"/>
                  <a:pt x="434" y="1276"/>
                  <a:pt x="434" y="1276"/>
                </a:cubicBezTo>
                <a:cubicBezTo>
                  <a:pt x="434" y="1276"/>
                  <a:pt x="478" y="1293"/>
                  <a:pt x="517" y="1302"/>
                </a:cubicBezTo>
                <a:cubicBezTo>
                  <a:pt x="606" y="1197"/>
                  <a:pt x="606" y="1197"/>
                  <a:pt x="606" y="1197"/>
                </a:cubicBezTo>
                <a:cubicBezTo>
                  <a:pt x="624" y="1199"/>
                  <a:pt x="641" y="1200"/>
                  <a:pt x="659" y="1200"/>
                </a:cubicBezTo>
                <a:cubicBezTo>
                  <a:pt x="677" y="1200"/>
                  <a:pt x="694" y="1199"/>
                  <a:pt x="711" y="1198"/>
                </a:cubicBezTo>
                <a:cubicBezTo>
                  <a:pt x="801" y="1302"/>
                  <a:pt x="801" y="1302"/>
                  <a:pt x="801" y="1302"/>
                </a:cubicBezTo>
                <a:cubicBezTo>
                  <a:pt x="839" y="1293"/>
                  <a:pt x="884" y="1277"/>
                  <a:pt x="884" y="1277"/>
                </a:cubicBezTo>
                <a:cubicBezTo>
                  <a:pt x="884" y="1277"/>
                  <a:pt x="928" y="1260"/>
                  <a:pt x="964" y="1242"/>
                </a:cubicBezTo>
                <a:cubicBezTo>
                  <a:pt x="965" y="1112"/>
                  <a:pt x="965" y="1112"/>
                  <a:pt x="965" y="1112"/>
                </a:cubicBezTo>
                <a:cubicBezTo>
                  <a:pt x="999" y="1091"/>
                  <a:pt x="1030" y="1067"/>
                  <a:pt x="1058" y="1040"/>
                </a:cubicBezTo>
                <a:cubicBezTo>
                  <a:pt x="1181" y="1060"/>
                  <a:pt x="1181" y="1060"/>
                  <a:pt x="1181" y="1060"/>
                </a:cubicBezTo>
                <a:cubicBezTo>
                  <a:pt x="1205" y="1028"/>
                  <a:pt x="1229" y="987"/>
                  <a:pt x="1229" y="987"/>
                </a:cubicBezTo>
                <a:cubicBezTo>
                  <a:pt x="1229" y="987"/>
                  <a:pt x="1252" y="946"/>
                  <a:pt x="1268" y="910"/>
                </a:cubicBezTo>
                <a:cubicBezTo>
                  <a:pt x="1195" y="820"/>
                  <a:pt x="1195" y="820"/>
                  <a:pt x="1195" y="820"/>
                </a:cubicBezTo>
                <a:cubicBezTo>
                  <a:pt x="1208" y="778"/>
                  <a:pt x="1216" y="734"/>
                  <a:pt x="1219" y="689"/>
                </a:cubicBezTo>
                <a:close/>
                <a:moveTo>
                  <a:pt x="659" y="1064"/>
                </a:moveTo>
                <a:cubicBezTo>
                  <a:pt x="437" y="1064"/>
                  <a:pt x="256" y="884"/>
                  <a:pt x="256" y="661"/>
                </a:cubicBezTo>
                <a:cubicBezTo>
                  <a:pt x="256" y="438"/>
                  <a:pt x="437" y="257"/>
                  <a:pt x="659" y="257"/>
                </a:cubicBezTo>
                <a:cubicBezTo>
                  <a:pt x="882" y="257"/>
                  <a:pt x="1063" y="438"/>
                  <a:pt x="1063" y="661"/>
                </a:cubicBezTo>
                <a:cubicBezTo>
                  <a:pt x="1063" y="884"/>
                  <a:pt x="882" y="1064"/>
                  <a:pt x="659" y="1064"/>
                </a:cubicBezTo>
                <a:close/>
              </a:path>
            </a:pathLst>
          </a:custGeom>
          <a:solidFill>
            <a:srgbClr val="C8C8C8"/>
          </a:solidFill>
          <a:ln>
            <a:noFill/>
          </a:ln>
        </p:spPr>
        <p:txBody>
          <a:bodyPr vert="horz" wrap="square" lIns="65837" tIns="32918" rIns="65837" bIns="32918" numCol="1" anchor="t" anchorCtr="0" compatLnSpc="1">
            <a:prstTxWarp prst="textNoShape">
              <a:avLst/>
            </a:prstTxWarp>
          </a:bodyPr>
          <a:lstStyle/>
          <a:p>
            <a:endParaRPr lang="en-US">
              <a:solidFill>
                <a:srgbClr val="575757"/>
              </a:solidFill>
            </a:endParaRPr>
          </a:p>
        </p:txBody>
      </p:sp>
      <p:sp>
        <p:nvSpPr>
          <p:cNvPr id="51" name="Freeform 12"/>
          <p:cNvSpPr>
            <a:spLocks noEditPoints="1"/>
          </p:cNvSpPr>
          <p:nvPr/>
        </p:nvSpPr>
        <p:spPr bwMode="auto">
          <a:xfrm>
            <a:off x="5326042" y="2869405"/>
            <a:ext cx="1497905" cy="1482324"/>
          </a:xfrm>
          <a:custGeom>
            <a:avLst/>
            <a:gdLst>
              <a:gd name="T0" fmla="*/ 1219 w 1318"/>
              <a:gd name="T1" fmla="*/ 689 h 1302"/>
              <a:gd name="T2" fmla="*/ 1318 w 1318"/>
              <a:gd name="T3" fmla="*/ 630 h 1302"/>
              <a:gd name="T4" fmla="*/ 1307 w 1318"/>
              <a:gd name="T5" fmla="*/ 544 h 1302"/>
              <a:gd name="T6" fmla="*/ 1287 w 1318"/>
              <a:gd name="T7" fmla="*/ 459 h 1302"/>
              <a:gd name="T8" fmla="*/ 1169 w 1318"/>
              <a:gd name="T9" fmla="*/ 437 h 1302"/>
              <a:gd name="T10" fmla="*/ 1104 w 1318"/>
              <a:gd name="T11" fmla="*/ 333 h 1302"/>
              <a:gd name="T12" fmla="*/ 1146 w 1318"/>
              <a:gd name="T13" fmla="*/ 213 h 1302"/>
              <a:gd name="T14" fmla="*/ 1082 w 1318"/>
              <a:gd name="T15" fmla="*/ 154 h 1302"/>
              <a:gd name="T16" fmla="*/ 1013 w 1318"/>
              <a:gd name="T17" fmla="*/ 102 h 1302"/>
              <a:gd name="T18" fmla="*/ 891 w 1318"/>
              <a:gd name="T19" fmla="*/ 170 h 1302"/>
              <a:gd name="T20" fmla="*/ 796 w 1318"/>
              <a:gd name="T21" fmla="*/ 138 h 1302"/>
              <a:gd name="T22" fmla="*/ 746 w 1318"/>
              <a:gd name="T23" fmla="*/ 5 h 1302"/>
              <a:gd name="T24" fmla="*/ 659 w 1318"/>
              <a:gd name="T25" fmla="*/ 0 h 1302"/>
              <a:gd name="T26" fmla="*/ 573 w 1318"/>
              <a:gd name="T27" fmla="*/ 5 h 1302"/>
              <a:gd name="T28" fmla="*/ 522 w 1318"/>
              <a:gd name="T29" fmla="*/ 138 h 1302"/>
              <a:gd name="T30" fmla="*/ 428 w 1318"/>
              <a:gd name="T31" fmla="*/ 170 h 1302"/>
              <a:gd name="T32" fmla="*/ 306 w 1318"/>
              <a:gd name="T33" fmla="*/ 101 h 1302"/>
              <a:gd name="T34" fmla="*/ 236 w 1318"/>
              <a:gd name="T35" fmla="*/ 154 h 1302"/>
              <a:gd name="T36" fmla="*/ 173 w 1318"/>
              <a:gd name="T37" fmla="*/ 213 h 1302"/>
              <a:gd name="T38" fmla="*/ 215 w 1318"/>
              <a:gd name="T39" fmla="*/ 333 h 1302"/>
              <a:gd name="T40" fmla="*/ 150 w 1318"/>
              <a:gd name="T41" fmla="*/ 436 h 1302"/>
              <a:gd name="T42" fmla="*/ 31 w 1318"/>
              <a:gd name="T43" fmla="*/ 459 h 1302"/>
              <a:gd name="T44" fmla="*/ 11 w 1318"/>
              <a:gd name="T45" fmla="*/ 543 h 1302"/>
              <a:gd name="T46" fmla="*/ 0 w 1318"/>
              <a:gd name="T47" fmla="*/ 630 h 1302"/>
              <a:gd name="T48" fmla="*/ 100 w 1318"/>
              <a:gd name="T49" fmla="*/ 689 h 1302"/>
              <a:gd name="T50" fmla="*/ 124 w 1318"/>
              <a:gd name="T51" fmla="*/ 819 h 1302"/>
              <a:gd name="T52" fmla="*/ 50 w 1318"/>
              <a:gd name="T53" fmla="*/ 909 h 1302"/>
              <a:gd name="T54" fmla="*/ 89 w 1318"/>
              <a:gd name="T55" fmla="*/ 987 h 1302"/>
              <a:gd name="T56" fmla="*/ 136 w 1318"/>
              <a:gd name="T57" fmla="*/ 1060 h 1302"/>
              <a:gd name="T58" fmla="*/ 260 w 1318"/>
              <a:gd name="T59" fmla="*/ 1039 h 1302"/>
              <a:gd name="T60" fmla="*/ 352 w 1318"/>
              <a:gd name="T61" fmla="*/ 1112 h 1302"/>
              <a:gd name="T62" fmla="*/ 354 w 1318"/>
              <a:gd name="T63" fmla="*/ 1242 h 1302"/>
              <a:gd name="T64" fmla="*/ 434 w 1318"/>
              <a:gd name="T65" fmla="*/ 1276 h 1302"/>
              <a:gd name="T66" fmla="*/ 517 w 1318"/>
              <a:gd name="T67" fmla="*/ 1302 h 1302"/>
              <a:gd name="T68" fmla="*/ 606 w 1318"/>
              <a:gd name="T69" fmla="*/ 1197 h 1302"/>
              <a:gd name="T70" fmla="*/ 659 w 1318"/>
              <a:gd name="T71" fmla="*/ 1200 h 1302"/>
              <a:gd name="T72" fmla="*/ 711 w 1318"/>
              <a:gd name="T73" fmla="*/ 1198 h 1302"/>
              <a:gd name="T74" fmla="*/ 801 w 1318"/>
              <a:gd name="T75" fmla="*/ 1302 h 1302"/>
              <a:gd name="T76" fmla="*/ 884 w 1318"/>
              <a:gd name="T77" fmla="*/ 1277 h 1302"/>
              <a:gd name="T78" fmla="*/ 964 w 1318"/>
              <a:gd name="T79" fmla="*/ 1242 h 1302"/>
              <a:gd name="T80" fmla="*/ 965 w 1318"/>
              <a:gd name="T81" fmla="*/ 1112 h 1302"/>
              <a:gd name="T82" fmla="*/ 1058 w 1318"/>
              <a:gd name="T83" fmla="*/ 1040 h 1302"/>
              <a:gd name="T84" fmla="*/ 1181 w 1318"/>
              <a:gd name="T85" fmla="*/ 1060 h 1302"/>
              <a:gd name="T86" fmla="*/ 1229 w 1318"/>
              <a:gd name="T87" fmla="*/ 987 h 1302"/>
              <a:gd name="T88" fmla="*/ 1268 w 1318"/>
              <a:gd name="T89" fmla="*/ 910 h 1302"/>
              <a:gd name="T90" fmla="*/ 1195 w 1318"/>
              <a:gd name="T91" fmla="*/ 820 h 1302"/>
              <a:gd name="T92" fmla="*/ 1219 w 1318"/>
              <a:gd name="T93" fmla="*/ 689 h 1302"/>
              <a:gd name="T94" fmla="*/ 659 w 1318"/>
              <a:gd name="T95" fmla="*/ 1064 h 1302"/>
              <a:gd name="T96" fmla="*/ 256 w 1318"/>
              <a:gd name="T97" fmla="*/ 661 h 1302"/>
              <a:gd name="T98" fmla="*/ 659 w 1318"/>
              <a:gd name="T99" fmla="*/ 257 h 1302"/>
              <a:gd name="T100" fmla="*/ 1063 w 1318"/>
              <a:gd name="T101" fmla="*/ 661 h 1302"/>
              <a:gd name="T102" fmla="*/ 659 w 1318"/>
              <a:gd name="T103" fmla="*/ 1064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8" h="1302">
                <a:moveTo>
                  <a:pt x="1219" y="689"/>
                </a:moveTo>
                <a:cubicBezTo>
                  <a:pt x="1318" y="630"/>
                  <a:pt x="1318" y="630"/>
                  <a:pt x="1318" y="630"/>
                </a:cubicBezTo>
                <a:cubicBezTo>
                  <a:pt x="1315" y="591"/>
                  <a:pt x="1307" y="544"/>
                  <a:pt x="1307" y="544"/>
                </a:cubicBezTo>
                <a:cubicBezTo>
                  <a:pt x="1307" y="544"/>
                  <a:pt x="1299" y="497"/>
                  <a:pt x="1287" y="459"/>
                </a:cubicBezTo>
                <a:cubicBezTo>
                  <a:pt x="1169" y="437"/>
                  <a:pt x="1169" y="437"/>
                  <a:pt x="1169" y="437"/>
                </a:cubicBezTo>
                <a:cubicBezTo>
                  <a:pt x="1151" y="400"/>
                  <a:pt x="1129" y="365"/>
                  <a:pt x="1104" y="333"/>
                </a:cubicBezTo>
                <a:cubicBezTo>
                  <a:pt x="1146" y="213"/>
                  <a:pt x="1146" y="213"/>
                  <a:pt x="1146" y="213"/>
                </a:cubicBezTo>
                <a:cubicBezTo>
                  <a:pt x="1119" y="184"/>
                  <a:pt x="1082" y="154"/>
                  <a:pt x="1082" y="154"/>
                </a:cubicBezTo>
                <a:cubicBezTo>
                  <a:pt x="1082" y="154"/>
                  <a:pt x="1046" y="124"/>
                  <a:pt x="1013" y="102"/>
                </a:cubicBezTo>
                <a:cubicBezTo>
                  <a:pt x="891" y="170"/>
                  <a:pt x="891" y="170"/>
                  <a:pt x="891" y="170"/>
                </a:cubicBezTo>
                <a:cubicBezTo>
                  <a:pt x="861" y="157"/>
                  <a:pt x="829" y="146"/>
                  <a:pt x="796" y="138"/>
                </a:cubicBezTo>
                <a:cubicBezTo>
                  <a:pt x="746" y="5"/>
                  <a:pt x="746" y="5"/>
                  <a:pt x="746" y="5"/>
                </a:cubicBezTo>
                <a:cubicBezTo>
                  <a:pt x="707" y="0"/>
                  <a:pt x="659" y="0"/>
                  <a:pt x="659" y="0"/>
                </a:cubicBezTo>
                <a:cubicBezTo>
                  <a:pt x="659" y="0"/>
                  <a:pt x="612" y="0"/>
                  <a:pt x="573" y="5"/>
                </a:cubicBezTo>
                <a:cubicBezTo>
                  <a:pt x="522" y="138"/>
                  <a:pt x="522" y="138"/>
                  <a:pt x="522" y="138"/>
                </a:cubicBezTo>
                <a:cubicBezTo>
                  <a:pt x="489" y="146"/>
                  <a:pt x="458" y="157"/>
                  <a:pt x="428" y="170"/>
                </a:cubicBezTo>
                <a:cubicBezTo>
                  <a:pt x="306" y="101"/>
                  <a:pt x="306" y="101"/>
                  <a:pt x="306" y="101"/>
                </a:cubicBezTo>
                <a:cubicBezTo>
                  <a:pt x="272" y="123"/>
                  <a:pt x="236" y="154"/>
                  <a:pt x="236" y="154"/>
                </a:cubicBezTo>
                <a:cubicBezTo>
                  <a:pt x="236" y="154"/>
                  <a:pt x="200" y="184"/>
                  <a:pt x="173" y="213"/>
                </a:cubicBezTo>
                <a:cubicBezTo>
                  <a:pt x="215" y="333"/>
                  <a:pt x="215" y="333"/>
                  <a:pt x="215" y="333"/>
                </a:cubicBezTo>
                <a:cubicBezTo>
                  <a:pt x="189" y="365"/>
                  <a:pt x="168" y="399"/>
                  <a:pt x="150" y="436"/>
                </a:cubicBezTo>
                <a:cubicBezTo>
                  <a:pt x="31" y="459"/>
                  <a:pt x="31" y="459"/>
                  <a:pt x="31" y="459"/>
                </a:cubicBezTo>
                <a:cubicBezTo>
                  <a:pt x="19" y="497"/>
                  <a:pt x="11" y="543"/>
                  <a:pt x="11" y="543"/>
                </a:cubicBezTo>
                <a:cubicBezTo>
                  <a:pt x="11" y="543"/>
                  <a:pt x="3" y="590"/>
                  <a:pt x="0" y="630"/>
                </a:cubicBezTo>
                <a:cubicBezTo>
                  <a:pt x="100" y="689"/>
                  <a:pt x="100" y="689"/>
                  <a:pt x="100" y="689"/>
                </a:cubicBezTo>
                <a:cubicBezTo>
                  <a:pt x="102" y="734"/>
                  <a:pt x="110" y="777"/>
                  <a:pt x="124" y="819"/>
                </a:cubicBezTo>
                <a:cubicBezTo>
                  <a:pt x="50" y="909"/>
                  <a:pt x="50" y="909"/>
                  <a:pt x="50" y="909"/>
                </a:cubicBezTo>
                <a:cubicBezTo>
                  <a:pt x="65" y="946"/>
                  <a:pt x="89" y="987"/>
                  <a:pt x="89" y="987"/>
                </a:cubicBezTo>
                <a:cubicBezTo>
                  <a:pt x="89" y="987"/>
                  <a:pt x="113" y="1028"/>
                  <a:pt x="136" y="1060"/>
                </a:cubicBezTo>
                <a:cubicBezTo>
                  <a:pt x="260" y="1039"/>
                  <a:pt x="260" y="1039"/>
                  <a:pt x="260" y="1039"/>
                </a:cubicBezTo>
                <a:cubicBezTo>
                  <a:pt x="288" y="1066"/>
                  <a:pt x="319" y="1091"/>
                  <a:pt x="352" y="1112"/>
                </a:cubicBezTo>
                <a:cubicBezTo>
                  <a:pt x="354" y="1242"/>
                  <a:pt x="354" y="1242"/>
                  <a:pt x="354" y="1242"/>
                </a:cubicBezTo>
                <a:cubicBezTo>
                  <a:pt x="389" y="1260"/>
                  <a:pt x="434" y="1276"/>
                  <a:pt x="434" y="1276"/>
                </a:cubicBezTo>
                <a:cubicBezTo>
                  <a:pt x="434" y="1276"/>
                  <a:pt x="478" y="1293"/>
                  <a:pt x="517" y="1302"/>
                </a:cubicBezTo>
                <a:cubicBezTo>
                  <a:pt x="606" y="1197"/>
                  <a:pt x="606" y="1197"/>
                  <a:pt x="606" y="1197"/>
                </a:cubicBezTo>
                <a:cubicBezTo>
                  <a:pt x="624" y="1199"/>
                  <a:pt x="641" y="1200"/>
                  <a:pt x="659" y="1200"/>
                </a:cubicBezTo>
                <a:cubicBezTo>
                  <a:pt x="677" y="1200"/>
                  <a:pt x="694" y="1199"/>
                  <a:pt x="711" y="1198"/>
                </a:cubicBezTo>
                <a:cubicBezTo>
                  <a:pt x="801" y="1302"/>
                  <a:pt x="801" y="1302"/>
                  <a:pt x="801" y="1302"/>
                </a:cubicBezTo>
                <a:cubicBezTo>
                  <a:pt x="839" y="1293"/>
                  <a:pt x="884" y="1277"/>
                  <a:pt x="884" y="1277"/>
                </a:cubicBezTo>
                <a:cubicBezTo>
                  <a:pt x="884" y="1277"/>
                  <a:pt x="928" y="1260"/>
                  <a:pt x="964" y="1242"/>
                </a:cubicBezTo>
                <a:cubicBezTo>
                  <a:pt x="965" y="1112"/>
                  <a:pt x="965" y="1112"/>
                  <a:pt x="965" y="1112"/>
                </a:cubicBezTo>
                <a:cubicBezTo>
                  <a:pt x="999" y="1091"/>
                  <a:pt x="1030" y="1067"/>
                  <a:pt x="1058" y="1040"/>
                </a:cubicBezTo>
                <a:cubicBezTo>
                  <a:pt x="1181" y="1060"/>
                  <a:pt x="1181" y="1060"/>
                  <a:pt x="1181" y="1060"/>
                </a:cubicBezTo>
                <a:cubicBezTo>
                  <a:pt x="1205" y="1028"/>
                  <a:pt x="1229" y="987"/>
                  <a:pt x="1229" y="987"/>
                </a:cubicBezTo>
                <a:cubicBezTo>
                  <a:pt x="1229" y="987"/>
                  <a:pt x="1252" y="946"/>
                  <a:pt x="1268" y="910"/>
                </a:cubicBezTo>
                <a:cubicBezTo>
                  <a:pt x="1195" y="820"/>
                  <a:pt x="1195" y="820"/>
                  <a:pt x="1195" y="820"/>
                </a:cubicBezTo>
                <a:cubicBezTo>
                  <a:pt x="1208" y="778"/>
                  <a:pt x="1216" y="734"/>
                  <a:pt x="1219" y="689"/>
                </a:cubicBezTo>
                <a:close/>
                <a:moveTo>
                  <a:pt x="659" y="1064"/>
                </a:moveTo>
                <a:cubicBezTo>
                  <a:pt x="437" y="1064"/>
                  <a:pt x="256" y="884"/>
                  <a:pt x="256" y="661"/>
                </a:cubicBezTo>
                <a:cubicBezTo>
                  <a:pt x="256" y="438"/>
                  <a:pt x="437" y="257"/>
                  <a:pt x="659" y="257"/>
                </a:cubicBezTo>
                <a:cubicBezTo>
                  <a:pt x="882" y="257"/>
                  <a:pt x="1063" y="438"/>
                  <a:pt x="1063" y="661"/>
                </a:cubicBezTo>
                <a:cubicBezTo>
                  <a:pt x="1063" y="884"/>
                  <a:pt x="882" y="1064"/>
                  <a:pt x="659" y="1064"/>
                </a:cubicBezTo>
                <a:close/>
              </a:path>
            </a:pathLst>
          </a:custGeom>
          <a:solidFill>
            <a:srgbClr val="00B0F0"/>
          </a:solidFill>
          <a:ln>
            <a:noFill/>
          </a:ln>
        </p:spPr>
        <p:txBody>
          <a:bodyPr vert="horz" wrap="square" lIns="65837" tIns="32918" rIns="65837" bIns="32918" numCol="1" anchor="t" anchorCtr="0" compatLnSpc="1">
            <a:prstTxWarp prst="textNoShape">
              <a:avLst/>
            </a:prstTxWarp>
          </a:bodyPr>
          <a:lstStyle/>
          <a:p>
            <a:endParaRPr lang="en-US">
              <a:solidFill>
                <a:srgbClr val="575757"/>
              </a:solidFill>
            </a:endParaRPr>
          </a:p>
        </p:txBody>
      </p:sp>
      <p:grpSp>
        <p:nvGrpSpPr>
          <p:cNvPr id="62" name="Group 61"/>
          <p:cNvGrpSpPr>
            <a:grpSpLocks/>
          </p:cNvGrpSpPr>
          <p:nvPr/>
        </p:nvGrpSpPr>
        <p:grpSpPr>
          <a:xfrm>
            <a:off x="5761931" y="3347145"/>
            <a:ext cx="626126" cy="637966"/>
            <a:chOff x="5446689" y="2765178"/>
            <a:chExt cx="1304430" cy="1329096"/>
          </a:xfrm>
          <a:solidFill>
            <a:srgbClr val="00B0F0"/>
          </a:solidFill>
        </p:grpSpPr>
        <p:sp>
          <p:nvSpPr>
            <p:cNvPr id="63" name="Freeform 7"/>
            <p:cNvSpPr>
              <a:spLocks noEditPoints="1"/>
            </p:cNvSpPr>
            <p:nvPr/>
          </p:nvSpPr>
          <p:spPr bwMode="auto">
            <a:xfrm>
              <a:off x="5446689" y="2765178"/>
              <a:ext cx="1304430" cy="1329096"/>
            </a:xfrm>
            <a:custGeom>
              <a:avLst/>
              <a:gdLst>
                <a:gd name="T0" fmla="*/ 350 w 1656"/>
                <a:gd name="T1" fmla="*/ 1270 h 1688"/>
                <a:gd name="T2" fmla="*/ 445 w 1656"/>
                <a:gd name="T3" fmla="*/ 950 h 1688"/>
                <a:gd name="T4" fmla="*/ 449 w 1656"/>
                <a:gd name="T5" fmla="*/ 941 h 1688"/>
                <a:gd name="T6" fmla="*/ 446 w 1656"/>
                <a:gd name="T7" fmla="*/ 928 h 1688"/>
                <a:gd name="T8" fmla="*/ 387 w 1656"/>
                <a:gd name="T9" fmla="*/ 847 h 1688"/>
                <a:gd name="T10" fmla="*/ 19 w 1656"/>
                <a:gd name="T11" fmla="*/ 347 h 1688"/>
                <a:gd name="T12" fmla="*/ 88 w 1656"/>
                <a:gd name="T13" fmla="*/ 186 h 1688"/>
                <a:gd name="T14" fmla="*/ 225 w 1656"/>
                <a:gd name="T15" fmla="*/ 4 h 1688"/>
                <a:gd name="T16" fmla="*/ 234 w 1656"/>
                <a:gd name="T17" fmla="*/ 0 h 1688"/>
                <a:gd name="T18" fmla="*/ 574 w 1656"/>
                <a:gd name="T19" fmla="*/ 1 h 1688"/>
                <a:gd name="T20" fmla="*/ 1416 w 1656"/>
                <a:gd name="T21" fmla="*/ 0 h 1688"/>
                <a:gd name="T22" fmla="*/ 1596 w 1656"/>
                <a:gd name="T23" fmla="*/ 228 h 1688"/>
                <a:gd name="T24" fmla="*/ 1640 w 1656"/>
                <a:gd name="T25" fmla="*/ 343 h 1688"/>
                <a:gd name="T26" fmla="*/ 1501 w 1656"/>
                <a:gd name="T27" fmla="*/ 533 h 1688"/>
                <a:gd name="T28" fmla="*/ 1220 w 1656"/>
                <a:gd name="T29" fmla="*/ 917 h 1688"/>
                <a:gd name="T30" fmla="*/ 1267 w 1656"/>
                <a:gd name="T31" fmla="*/ 1402 h 1688"/>
                <a:gd name="T32" fmla="*/ 825 w 1656"/>
                <a:gd name="T33" fmla="*/ 1688 h 1688"/>
                <a:gd name="T34" fmla="*/ 413 w 1656"/>
                <a:gd name="T35" fmla="*/ 1224 h 1688"/>
                <a:gd name="T36" fmla="*/ 826 w 1656"/>
                <a:gd name="T37" fmla="*/ 1624 h 1688"/>
                <a:gd name="T38" fmla="*/ 827 w 1656"/>
                <a:gd name="T39" fmla="*/ 827 h 1688"/>
                <a:gd name="T40" fmla="*/ 215 w 1656"/>
                <a:gd name="T41" fmla="*/ 112 h 1688"/>
                <a:gd name="T42" fmla="*/ 177 w 1656"/>
                <a:gd name="T43" fmla="*/ 166 h 1688"/>
                <a:gd name="T44" fmla="*/ 88 w 1656"/>
                <a:gd name="T45" fmla="*/ 339 h 1688"/>
                <a:gd name="T46" fmla="*/ 473 w 1656"/>
                <a:gd name="T47" fmla="*/ 866 h 1688"/>
                <a:gd name="T48" fmla="*/ 484 w 1656"/>
                <a:gd name="T49" fmla="*/ 879 h 1688"/>
                <a:gd name="T50" fmla="*/ 509 w 1656"/>
                <a:gd name="T51" fmla="*/ 881 h 1688"/>
                <a:gd name="T52" fmla="*/ 732 w 1656"/>
                <a:gd name="T53" fmla="*/ 772 h 1688"/>
                <a:gd name="T54" fmla="*/ 246 w 1656"/>
                <a:gd name="T55" fmla="*/ 107 h 1688"/>
                <a:gd name="T56" fmla="*/ 215 w 1656"/>
                <a:gd name="T57" fmla="*/ 112 h 1688"/>
                <a:gd name="T58" fmla="*/ 933 w 1656"/>
                <a:gd name="T59" fmla="*/ 751 h 1688"/>
                <a:gd name="T60" fmla="*/ 942 w 1656"/>
                <a:gd name="T61" fmla="*/ 776 h 1688"/>
                <a:gd name="T62" fmla="*/ 1158 w 1656"/>
                <a:gd name="T63" fmla="*/ 891 h 1688"/>
                <a:gd name="T64" fmla="*/ 1572 w 1656"/>
                <a:gd name="T65" fmla="*/ 324 h 1688"/>
                <a:gd name="T66" fmla="*/ 1573 w 1656"/>
                <a:gd name="T67" fmla="*/ 306 h 1688"/>
                <a:gd name="T68" fmla="*/ 1421 w 1656"/>
                <a:gd name="T69" fmla="*/ 86 h 1688"/>
                <a:gd name="T70" fmla="*/ 524 w 1656"/>
                <a:gd name="T71" fmla="*/ 375 h 1688"/>
                <a:gd name="T72" fmla="*/ 535 w 1656"/>
                <a:gd name="T73" fmla="*/ 391 h 1688"/>
                <a:gd name="T74" fmla="*/ 793 w 1656"/>
                <a:gd name="T75" fmla="*/ 744 h 1688"/>
                <a:gd name="T76" fmla="*/ 859 w 1656"/>
                <a:gd name="T77" fmla="*/ 744 h 1688"/>
                <a:gd name="T78" fmla="*/ 1124 w 1656"/>
                <a:gd name="T79" fmla="*/ 380 h 1688"/>
                <a:gd name="T80" fmla="*/ 1145 w 1656"/>
                <a:gd name="T81" fmla="*/ 350 h 1688"/>
                <a:gd name="T82" fmla="*/ 524 w 1656"/>
                <a:gd name="T83" fmla="*/ 375 h 1688"/>
                <a:gd name="T84" fmla="*/ 449 w 1656"/>
                <a:gd name="T85" fmla="*/ 271 h 1688"/>
                <a:gd name="T86" fmla="*/ 826 w 1656"/>
                <a:gd name="T87" fmla="*/ 285 h 1688"/>
                <a:gd name="T88" fmla="*/ 1205 w 1656"/>
                <a:gd name="T89" fmla="*/ 269 h 1688"/>
                <a:gd name="T90" fmla="*/ 1274 w 1656"/>
                <a:gd name="T91" fmla="*/ 173 h 1688"/>
                <a:gd name="T92" fmla="*/ 1336 w 1656"/>
                <a:gd name="T93" fmla="*/ 88 h 1688"/>
                <a:gd name="T94" fmla="*/ 305 w 1656"/>
                <a:gd name="T95" fmla="*/ 63 h 1688"/>
                <a:gd name="T96" fmla="*/ 314 w 1656"/>
                <a:gd name="T97" fmla="*/ 86 h 1688"/>
                <a:gd name="T98" fmla="*/ 326 w 1656"/>
                <a:gd name="T99" fmla="*/ 105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56" h="1688">
                  <a:moveTo>
                    <a:pt x="825" y="1688"/>
                  </a:moveTo>
                  <a:cubicBezTo>
                    <a:pt x="581" y="1688"/>
                    <a:pt x="372" y="1504"/>
                    <a:pt x="350" y="1270"/>
                  </a:cubicBezTo>
                  <a:cubicBezTo>
                    <a:pt x="339" y="1155"/>
                    <a:pt x="369" y="1050"/>
                    <a:pt x="440" y="957"/>
                  </a:cubicBezTo>
                  <a:cubicBezTo>
                    <a:pt x="442" y="955"/>
                    <a:pt x="444" y="952"/>
                    <a:pt x="445" y="950"/>
                  </a:cubicBezTo>
                  <a:cubicBezTo>
                    <a:pt x="448" y="946"/>
                    <a:pt x="449" y="943"/>
                    <a:pt x="449" y="941"/>
                  </a:cubicBezTo>
                  <a:cubicBezTo>
                    <a:pt x="449" y="941"/>
                    <a:pt x="449" y="941"/>
                    <a:pt x="449" y="941"/>
                  </a:cubicBezTo>
                  <a:cubicBezTo>
                    <a:pt x="451" y="934"/>
                    <a:pt x="451" y="934"/>
                    <a:pt x="451" y="934"/>
                  </a:cubicBezTo>
                  <a:cubicBezTo>
                    <a:pt x="446" y="928"/>
                    <a:pt x="446" y="928"/>
                    <a:pt x="446" y="928"/>
                  </a:cubicBezTo>
                  <a:cubicBezTo>
                    <a:pt x="436" y="914"/>
                    <a:pt x="426" y="900"/>
                    <a:pt x="416" y="886"/>
                  </a:cubicBezTo>
                  <a:cubicBezTo>
                    <a:pt x="406" y="873"/>
                    <a:pt x="397" y="860"/>
                    <a:pt x="387" y="847"/>
                  </a:cubicBezTo>
                  <a:cubicBezTo>
                    <a:pt x="355" y="803"/>
                    <a:pt x="323" y="759"/>
                    <a:pt x="291" y="715"/>
                  </a:cubicBezTo>
                  <a:cubicBezTo>
                    <a:pt x="202" y="594"/>
                    <a:pt x="111" y="469"/>
                    <a:pt x="19" y="347"/>
                  </a:cubicBezTo>
                  <a:cubicBezTo>
                    <a:pt x="0" y="321"/>
                    <a:pt x="4" y="307"/>
                    <a:pt x="19" y="285"/>
                  </a:cubicBezTo>
                  <a:cubicBezTo>
                    <a:pt x="42" y="252"/>
                    <a:pt x="65" y="219"/>
                    <a:pt x="88" y="186"/>
                  </a:cubicBezTo>
                  <a:cubicBezTo>
                    <a:pt x="127" y="129"/>
                    <a:pt x="168" y="70"/>
                    <a:pt x="209" y="13"/>
                  </a:cubicBezTo>
                  <a:cubicBezTo>
                    <a:pt x="211" y="10"/>
                    <a:pt x="219" y="6"/>
                    <a:pt x="225" y="4"/>
                  </a:cubicBezTo>
                  <a:cubicBezTo>
                    <a:pt x="228" y="3"/>
                    <a:pt x="231" y="2"/>
                    <a:pt x="234" y="0"/>
                  </a:cubicBezTo>
                  <a:cubicBezTo>
                    <a:pt x="234" y="0"/>
                    <a:pt x="234" y="0"/>
                    <a:pt x="234" y="0"/>
                  </a:cubicBezTo>
                  <a:cubicBezTo>
                    <a:pt x="236" y="1"/>
                    <a:pt x="238" y="1"/>
                    <a:pt x="240" y="1"/>
                  </a:cubicBezTo>
                  <a:cubicBezTo>
                    <a:pt x="574" y="1"/>
                    <a:pt x="574" y="1"/>
                    <a:pt x="574" y="1"/>
                  </a:cubicBezTo>
                  <a:cubicBezTo>
                    <a:pt x="886" y="1"/>
                    <a:pt x="1149" y="1"/>
                    <a:pt x="1415" y="0"/>
                  </a:cubicBezTo>
                  <a:cubicBezTo>
                    <a:pt x="1416" y="0"/>
                    <a:pt x="1416" y="0"/>
                    <a:pt x="1416" y="0"/>
                  </a:cubicBezTo>
                  <a:cubicBezTo>
                    <a:pt x="1434" y="0"/>
                    <a:pt x="1444" y="6"/>
                    <a:pt x="1454" y="21"/>
                  </a:cubicBezTo>
                  <a:cubicBezTo>
                    <a:pt x="1501" y="90"/>
                    <a:pt x="1549" y="160"/>
                    <a:pt x="1596" y="228"/>
                  </a:cubicBezTo>
                  <a:cubicBezTo>
                    <a:pt x="1613" y="252"/>
                    <a:pt x="1629" y="276"/>
                    <a:pt x="1645" y="300"/>
                  </a:cubicBezTo>
                  <a:cubicBezTo>
                    <a:pt x="1651" y="308"/>
                    <a:pt x="1656" y="321"/>
                    <a:pt x="1640" y="343"/>
                  </a:cubicBezTo>
                  <a:cubicBezTo>
                    <a:pt x="1608" y="387"/>
                    <a:pt x="1576" y="432"/>
                    <a:pt x="1544" y="475"/>
                  </a:cubicBezTo>
                  <a:cubicBezTo>
                    <a:pt x="1530" y="494"/>
                    <a:pt x="1516" y="514"/>
                    <a:pt x="1501" y="533"/>
                  </a:cubicBezTo>
                  <a:cubicBezTo>
                    <a:pt x="1447" y="608"/>
                    <a:pt x="1447" y="608"/>
                    <a:pt x="1447" y="608"/>
                  </a:cubicBezTo>
                  <a:cubicBezTo>
                    <a:pt x="1373" y="709"/>
                    <a:pt x="1296" y="814"/>
                    <a:pt x="1220" y="917"/>
                  </a:cubicBezTo>
                  <a:cubicBezTo>
                    <a:pt x="1212" y="928"/>
                    <a:pt x="1205" y="943"/>
                    <a:pt x="1219" y="963"/>
                  </a:cubicBezTo>
                  <a:cubicBezTo>
                    <a:pt x="1312" y="1093"/>
                    <a:pt x="1330" y="1257"/>
                    <a:pt x="1267" y="1402"/>
                  </a:cubicBezTo>
                  <a:cubicBezTo>
                    <a:pt x="1204" y="1548"/>
                    <a:pt x="1070" y="1652"/>
                    <a:pt x="909" y="1680"/>
                  </a:cubicBezTo>
                  <a:cubicBezTo>
                    <a:pt x="881" y="1685"/>
                    <a:pt x="853" y="1688"/>
                    <a:pt x="825" y="1688"/>
                  </a:cubicBezTo>
                  <a:close/>
                  <a:moveTo>
                    <a:pt x="826" y="827"/>
                  </a:moveTo>
                  <a:cubicBezTo>
                    <a:pt x="599" y="827"/>
                    <a:pt x="414" y="1005"/>
                    <a:pt x="413" y="1224"/>
                  </a:cubicBezTo>
                  <a:cubicBezTo>
                    <a:pt x="412" y="1444"/>
                    <a:pt x="597" y="1623"/>
                    <a:pt x="824" y="1624"/>
                  </a:cubicBezTo>
                  <a:cubicBezTo>
                    <a:pt x="826" y="1624"/>
                    <a:pt x="826" y="1624"/>
                    <a:pt x="826" y="1624"/>
                  </a:cubicBezTo>
                  <a:cubicBezTo>
                    <a:pt x="1053" y="1624"/>
                    <a:pt x="1239" y="1445"/>
                    <a:pt x="1239" y="1226"/>
                  </a:cubicBezTo>
                  <a:cubicBezTo>
                    <a:pt x="1239" y="1006"/>
                    <a:pt x="1054" y="827"/>
                    <a:pt x="827" y="827"/>
                  </a:cubicBezTo>
                  <a:lnTo>
                    <a:pt x="826" y="827"/>
                  </a:lnTo>
                  <a:close/>
                  <a:moveTo>
                    <a:pt x="215" y="112"/>
                  </a:moveTo>
                  <a:cubicBezTo>
                    <a:pt x="212" y="116"/>
                    <a:pt x="209" y="119"/>
                    <a:pt x="207" y="123"/>
                  </a:cubicBezTo>
                  <a:cubicBezTo>
                    <a:pt x="197" y="137"/>
                    <a:pt x="187" y="151"/>
                    <a:pt x="177" y="166"/>
                  </a:cubicBezTo>
                  <a:cubicBezTo>
                    <a:pt x="148" y="208"/>
                    <a:pt x="118" y="252"/>
                    <a:pt x="88" y="295"/>
                  </a:cubicBezTo>
                  <a:cubicBezTo>
                    <a:pt x="77" y="310"/>
                    <a:pt x="77" y="324"/>
                    <a:pt x="88" y="339"/>
                  </a:cubicBezTo>
                  <a:cubicBezTo>
                    <a:pt x="191" y="480"/>
                    <a:pt x="296" y="623"/>
                    <a:pt x="397" y="761"/>
                  </a:cubicBezTo>
                  <a:cubicBezTo>
                    <a:pt x="473" y="866"/>
                    <a:pt x="473" y="866"/>
                    <a:pt x="473" y="866"/>
                  </a:cubicBezTo>
                  <a:cubicBezTo>
                    <a:pt x="476" y="869"/>
                    <a:pt x="478" y="872"/>
                    <a:pt x="481" y="875"/>
                  </a:cubicBezTo>
                  <a:cubicBezTo>
                    <a:pt x="484" y="879"/>
                    <a:pt x="484" y="879"/>
                    <a:pt x="484" y="879"/>
                  </a:cubicBezTo>
                  <a:cubicBezTo>
                    <a:pt x="495" y="893"/>
                    <a:pt x="495" y="893"/>
                    <a:pt x="495" y="893"/>
                  </a:cubicBezTo>
                  <a:cubicBezTo>
                    <a:pt x="509" y="881"/>
                    <a:pt x="509" y="881"/>
                    <a:pt x="509" y="881"/>
                  </a:cubicBezTo>
                  <a:cubicBezTo>
                    <a:pt x="564" y="832"/>
                    <a:pt x="629" y="798"/>
                    <a:pt x="709" y="778"/>
                  </a:cubicBezTo>
                  <a:cubicBezTo>
                    <a:pt x="732" y="772"/>
                    <a:pt x="732" y="772"/>
                    <a:pt x="732" y="772"/>
                  </a:cubicBezTo>
                  <a:cubicBezTo>
                    <a:pt x="732" y="772"/>
                    <a:pt x="573" y="555"/>
                    <a:pt x="501" y="456"/>
                  </a:cubicBezTo>
                  <a:cubicBezTo>
                    <a:pt x="416" y="340"/>
                    <a:pt x="331" y="224"/>
                    <a:pt x="246" y="107"/>
                  </a:cubicBezTo>
                  <a:cubicBezTo>
                    <a:pt x="232" y="89"/>
                    <a:pt x="232" y="89"/>
                    <a:pt x="232" y="89"/>
                  </a:cubicBezTo>
                  <a:lnTo>
                    <a:pt x="215" y="112"/>
                  </a:lnTo>
                  <a:close/>
                  <a:moveTo>
                    <a:pt x="1313" y="232"/>
                  </a:moveTo>
                  <a:cubicBezTo>
                    <a:pt x="1186" y="405"/>
                    <a:pt x="1060" y="578"/>
                    <a:pt x="933" y="751"/>
                  </a:cubicBezTo>
                  <a:cubicBezTo>
                    <a:pt x="919" y="770"/>
                    <a:pt x="919" y="770"/>
                    <a:pt x="919" y="770"/>
                  </a:cubicBezTo>
                  <a:cubicBezTo>
                    <a:pt x="942" y="776"/>
                    <a:pt x="942" y="776"/>
                    <a:pt x="942" y="776"/>
                  </a:cubicBezTo>
                  <a:cubicBezTo>
                    <a:pt x="1016" y="795"/>
                    <a:pt x="1082" y="829"/>
                    <a:pt x="1144" y="880"/>
                  </a:cubicBezTo>
                  <a:cubicBezTo>
                    <a:pt x="1158" y="891"/>
                    <a:pt x="1158" y="891"/>
                    <a:pt x="1158" y="891"/>
                  </a:cubicBezTo>
                  <a:cubicBezTo>
                    <a:pt x="1291" y="710"/>
                    <a:pt x="1291" y="710"/>
                    <a:pt x="1291" y="710"/>
                  </a:cubicBezTo>
                  <a:cubicBezTo>
                    <a:pt x="1385" y="581"/>
                    <a:pt x="1479" y="453"/>
                    <a:pt x="1572" y="324"/>
                  </a:cubicBezTo>
                  <a:cubicBezTo>
                    <a:pt x="1579" y="315"/>
                    <a:pt x="1579" y="315"/>
                    <a:pt x="1579" y="315"/>
                  </a:cubicBezTo>
                  <a:cubicBezTo>
                    <a:pt x="1573" y="306"/>
                    <a:pt x="1573" y="306"/>
                    <a:pt x="1573" y="306"/>
                  </a:cubicBezTo>
                  <a:cubicBezTo>
                    <a:pt x="1527" y="239"/>
                    <a:pt x="1481" y="174"/>
                    <a:pt x="1434" y="105"/>
                  </a:cubicBezTo>
                  <a:cubicBezTo>
                    <a:pt x="1421" y="86"/>
                    <a:pt x="1421" y="86"/>
                    <a:pt x="1421" y="86"/>
                  </a:cubicBezTo>
                  <a:lnTo>
                    <a:pt x="1313" y="232"/>
                  </a:lnTo>
                  <a:close/>
                  <a:moveTo>
                    <a:pt x="524" y="375"/>
                  </a:moveTo>
                  <a:cubicBezTo>
                    <a:pt x="525" y="377"/>
                    <a:pt x="526" y="378"/>
                    <a:pt x="527" y="380"/>
                  </a:cubicBezTo>
                  <a:cubicBezTo>
                    <a:pt x="530" y="384"/>
                    <a:pt x="533" y="387"/>
                    <a:pt x="535" y="391"/>
                  </a:cubicBezTo>
                  <a:cubicBezTo>
                    <a:pt x="578" y="450"/>
                    <a:pt x="621" y="508"/>
                    <a:pt x="664" y="567"/>
                  </a:cubicBezTo>
                  <a:cubicBezTo>
                    <a:pt x="707" y="626"/>
                    <a:pt x="750" y="685"/>
                    <a:pt x="793" y="744"/>
                  </a:cubicBezTo>
                  <a:cubicBezTo>
                    <a:pt x="799" y="753"/>
                    <a:pt x="810" y="765"/>
                    <a:pt x="826" y="765"/>
                  </a:cubicBezTo>
                  <a:cubicBezTo>
                    <a:pt x="842" y="765"/>
                    <a:pt x="852" y="753"/>
                    <a:pt x="859" y="744"/>
                  </a:cubicBezTo>
                  <a:cubicBezTo>
                    <a:pt x="902" y="685"/>
                    <a:pt x="1073" y="450"/>
                    <a:pt x="1116" y="391"/>
                  </a:cubicBezTo>
                  <a:cubicBezTo>
                    <a:pt x="1119" y="387"/>
                    <a:pt x="1122" y="384"/>
                    <a:pt x="1124" y="380"/>
                  </a:cubicBezTo>
                  <a:cubicBezTo>
                    <a:pt x="1125" y="378"/>
                    <a:pt x="1126" y="376"/>
                    <a:pt x="1128" y="375"/>
                  </a:cubicBezTo>
                  <a:cubicBezTo>
                    <a:pt x="1145" y="350"/>
                    <a:pt x="1145" y="350"/>
                    <a:pt x="1145" y="350"/>
                  </a:cubicBezTo>
                  <a:cubicBezTo>
                    <a:pt x="507" y="350"/>
                    <a:pt x="507" y="350"/>
                    <a:pt x="507" y="350"/>
                  </a:cubicBezTo>
                  <a:lnTo>
                    <a:pt x="524" y="375"/>
                  </a:lnTo>
                  <a:close/>
                  <a:moveTo>
                    <a:pt x="326" y="105"/>
                  </a:moveTo>
                  <a:cubicBezTo>
                    <a:pt x="366" y="159"/>
                    <a:pt x="407" y="216"/>
                    <a:pt x="449" y="271"/>
                  </a:cubicBezTo>
                  <a:cubicBezTo>
                    <a:pt x="456" y="281"/>
                    <a:pt x="470" y="285"/>
                    <a:pt x="480" y="285"/>
                  </a:cubicBezTo>
                  <a:cubicBezTo>
                    <a:pt x="606" y="285"/>
                    <a:pt x="719" y="285"/>
                    <a:pt x="826" y="285"/>
                  </a:cubicBezTo>
                  <a:cubicBezTo>
                    <a:pt x="949" y="285"/>
                    <a:pt x="1062" y="285"/>
                    <a:pt x="1172" y="285"/>
                  </a:cubicBezTo>
                  <a:cubicBezTo>
                    <a:pt x="1184" y="285"/>
                    <a:pt x="1197" y="278"/>
                    <a:pt x="1205" y="269"/>
                  </a:cubicBezTo>
                  <a:cubicBezTo>
                    <a:pt x="1223" y="245"/>
                    <a:pt x="1240" y="221"/>
                    <a:pt x="1257" y="197"/>
                  </a:cubicBezTo>
                  <a:cubicBezTo>
                    <a:pt x="1263" y="189"/>
                    <a:pt x="1269" y="181"/>
                    <a:pt x="1274" y="173"/>
                  </a:cubicBezTo>
                  <a:cubicBezTo>
                    <a:pt x="1286" y="158"/>
                    <a:pt x="1297" y="142"/>
                    <a:pt x="1308" y="126"/>
                  </a:cubicBezTo>
                  <a:cubicBezTo>
                    <a:pt x="1317" y="114"/>
                    <a:pt x="1327" y="101"/>
                    <a:pt x="1336" y="88"/>
                  </a:cubicBezTo>
                  <a:cubicBezTo>
                    <a:pt x="1355" y="63"/>
                    <a:pt x="1355" y="63"/>
                    <a:pt x="1355" y="63"/>
                  </a:cubicBezTo>
                  <a:cubicBezTo>
                    <a:pt x="305" y="63"/>
                    <a:pt x="305" y="63"/>
                    <a:pt x="305" y="63"/>
                  </a:cubicBezTo>
                  <a:cubicBezTo>
                    <a:pt x="313" y="84"/>
                    <a:pt x="313" y="84"/>
                    <a:pt x="313" y="84"/>
                  </a:cubicBezTo>
                  <a:cubicBezTo>
                    <a:pt x="314" y="85"/>
                    <a:pt x="314" y="85"/>
                    <a:pt x="314" y="86"/>
                  </a:cubicBezTo>
                  <a:cubicBezTo>
                    <a:pt x="315" y="88"/>
                    <a:pt x="315" y="91"/>
                    <a:pt x="318" y="94"/>
                  </a:cubicBezTo>
                  <a:lnTo>
                    <a:pt x="326" y="105"/>
                  </a:lnTo>
                  <a:close/>
                </a:path>
              </a:pathLst>
            </a:custGeom>
            <a:grpFill/>
            <a:ln>
              <a:noFill/>
            </a:ln>
          </p:spPr>
          <p:txBody>
            <a:bodyPr vert="horz" wrap="square" lIns="43891" tIns="21946" rIns="43891" bIns="21946" numCol="1" anchor="t" anchorCtr="0" compatLnSpc="1">
              <a:prstTxWarp prst="textNoShape">
                <a:avLst/>
              </a:prstTxWarp>
            </a:bodyPr>
            <a:lstStyle/>
            <a:p>
              <a:endParaRPr lang="en-US"/>
            </a:p>
          </p:txBody>
        </p:sp>
        <p:sp>
          <p:nvSpPr>
            <p:cNvPr id="64" name="Freeform 9"/>
            <p:cNvSpPr>
              <a:spLocks/>
            </p:cNvSpPr>
            <p:nvPr/>
          </p:nvSpPr>
          <p:spPr bwMode="auto">
            <a:xfrm>
              <a:off x="5919708" y="3555962"/>
              <a:ext cx="359843" cy="348235"/>
            </a:xfrm>
            <a:custGeom>
              <a:avLst/>
              <a:gdLst>
                <a:gd name="T0" fmla="*/ 381 w 457"/>
                <a:gd name="T1" fmla="*/ 442 h 442"/>
                <a:gd name="T2" fmla="*/ 339 w 457"/>
                <a:gd name="T3" fmla="*/ 411 h 442"/>
                <a:gd name="T4" fmla="*/ 232 w 457"/>
                <a:gd name="T5" fmla="*/ 334 h 442"/>
                <a:gd name="T6" fmla="*/ 224 w 457"/>
                <a:gd name="T7" fmla="*/ 334 h 442"/>
                <a:gd name="T8" fmla="*/ 80 w 457"/>
                <a:gd name="T9" fmla="*/ 438 h 442"/>
                <a:gd name="T10" fmla="*/ 76 w 457"/>
                <a:gd name="T11" fmla="*/ 441 h 442"/>
                <a:gd name="T12" fmla="*/ 78 w 457"/>
                <a:gd name="T13" fmla="*/ 435 h 442"/>
                <a:gd name="T14" fmla="*/ 135 w 457"/>
                <a:gd name="T15" fmla="*/ 270 h 442"/>
                <a:gd name="T16" fmla="*/ 132 w 457"/>
                <a:gd name="T17" fmla="*/ 262 h 442"/>
                <a:gd name="T18" fmla="*/ 5 w 457"/>
                <a:gd name="T19" fmla="*/ 169 h 442"/>
                <a:gd name="T20" fmla="*/ 0 w 457"/>
                <a:gd name="T21" fmla="*/ 165 h 442"/>
                <a:gd name="T22" fmla="*/ 6 w 457"/>
                <a:gd name="T23" fmla="*/ 165 h 442"/>
                <a:gd name="T24" fmla="*/ 165 w 457"/>
                <a:gd name="T25" fmla="*/ 165 h 442"/>
                <a:gd name="T26" fmla="*/ 173 w 457"/>
                <a:gd name="T27" fmla="*/ 160 h 442"/>
                <a:gd name="T28" fmla="*/ 226 w 457"/>
                <a:gd name="T29" fmla="*/ 5 h 442"/>
                <a:gd name="T30" fmla="*/ 229 w 457"/>
                <a:gd name="T31" fmla="*/ 0 h 442"/>
                <a:gd name="T32" fmla="*/ 286 w 457"/>
                <a:gd name="T33" fmla="*/ 165 h 442"/>
                <a:gd name="T34" fmla="*/ 457 w 457"/>
                <a:gd name="T35" fmla="*/ 165 h 442"/>
                <a:gd name="T36" fmla="*/ 452 w 457"/>
                <a:gd name="T37" fmla="*/ 169 h 442"/>
                <a:gd name="T38" fmla="*/ 324 w 457"/>
                <a:gd name="T39" fmla="*/ 262 h 442"/>
                <a:gd name="T40" fmla="*/ 322 w 457"/>
                <a:gd name="T41" fmla="*/ 270 h 442"/>
                <a:gd name="T42" fmla="*/ 379 w 457"/>
                <a:gd name="T43" fmla="*/ 436 h 442"/>
                <a:gd name="T44" fmla="*/ 381 w 457"/>
                <a:gd name="T45"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7" h="442">
                  <a:moveTo>
                    <a:pt x="381" y="442"/>
                  </a:moveTo>
                  <a:cubicBezTo>
                    <a:pt x="366" y="431"/>
                    <a:pt x="352" y="421"/>
                    <a:pt x="339" y="411"/>
                  </a:cubicBezTo>
                  <a:cubicBezTo>
                    <a:pt x="303" y="386"/>
                    <a:pt x="268" y="360"/>
                    <a:pt x="232" y="334"/>
                  </a:cubicBezTo>
                  <a:cubicBezTo>
                    <a:pt x="229" y="332"/>
                    <a:pt x="227" y="332"/>
                    <a:pt x="224" y="334"/>
                  </a:cubicBezTo>
                  <a:cubicBezTo>
                    <a:pt x="176" y="369"/>
                    <a:pt x="128" y="404"/>
                    <a:pt x="80" y="438"/>
                  </a:cubicBezTo>
                  <a:cubicBezTo>
                    <a:pt x="79" y="439"/>
                    <a:pt x="78" y="440"/>
                    <a:pt x="76" y="441"/>
                  </a:cubicBezTo>
                  <a:cubicBezTo>
                    <a:pt x="76" y="439"/>
                    <a:pt x="77" y="437"/>
                    <a:pt x="78" y="435"/>
                  </a:cubicBezTo>
                  <a:cubicBezTo>
                    <a:pt x="97" y="380"/>
                    <a:pt x="116" y="325"/>
                    <a:pt x="135" y="270"/>
                  </a:cubicBezTo>
                  <a:cubicBezTo>
                    <a:pt x="136" y="266"/>
                    <a:pt x="136" y="264"/>
                    <a:pt x="132" y="262"/>
                  </a:cubicBezTo>
                  <a:cubicBezTo>
                    <a:pt x="90" y="231"/>
                    <a:pt x="47" y="200"/>
                    <a:pt x="5" y="169"/>
                  </a:cubicBezTo>
                  <a:cubicBezTo>
                    <a:pt x="3" y="168"/>
                    <a:pt x="2" y="167"/>
                    <a:pt x="0" y="165"/>
                  </a:cubicBezTo>
                  <a:cubicBezTo>
                    <a:pt x="2" y="165"/>
                    <a:pt x="4" y="165"/>
                    <a:pt x="6" y="165"/>
                  </a:cubicBezTo>
                  <a:cubicBezTo>
                    <a:pt x="59" y="165"/>
                    <a:pt x="112" y="165"/>
                    <a:pt x="165" y="165"/>
                  </a:cubicBezTo>
                  <a:cubicBezTo>
                    <a:pt x="169" y="165"/>
                    <a:pt x="171" y="164"/>
                    <a:pt x="173" y="160"/>
                  </a:cubicBezTo>
                  <a:cubicBezTo>
                    <a:pt x="190" y="108"/>
                    <a:pt x="208" y="57"/>
                    <a:pt x="226" y="5"/>
                  </a:cubicBezTo>
                  <a:cubicBezTo>
                    <a:pt x="227" y="4"/>
                    <a:pt x="227" y="2"/>
                    <a:pt x="229" y="0"/>
                  </a:cubicBezTo>
                  <a:cubicBezTo>
                    <a:pt x="248" y="55"/>
                    <a:pt x="267" y="110"/>
                    <a:pt x="286" y="165"/>
                  </a:cubicBezTo>
                  <a:cubicBezTo>
                    <a:pt x="343" y="165"/>
                    <a:pt x="399" y="165"/>
                    <a:pt x="457" y="165"/>
                  </a:cubicBezTo>
                  <a:cubicBezTo>
                    <a:pt x="455" y="167"/>
                    <a:pt x="453" y="168"/>
                    <a:pt x="452" y="169"/>
                  </a:cubicBezTo>
                  <a:cubicBezTo>
                    <a:pt x="409" y="200"/>
                    <a:pt x="367" y="231"/>
                    <a:pt x="324" y="262"/>
                  </a:cubicBezTo>
                  <a:cubicBezTo>
                    <a:pt x="321" y="264"/>
                    <a:pt x="320" y="266"/>
                    <a:pt x="322" y="270"/>
                  </a:cubicBezTo>
                  <a:cubicBezTo>
                    <a:pt x="341" y="325"/>
                    <a:pt x="360" y="380"/>
                    <a:pt x="379" y="436"/>
                  </a:cubicBezTo>
                  <a:cubicBezTo>
                    <a:pt x="380" y="437"/>
                    <a:pt x="380" y="439"/>
                    <a:pt x="381" y="442"/>
                  </a:cubicBezTo>
                  <a:close/>
                </a:path>
              </a:pathLst>
            </a:custGeom>
            <a:grpFill/>
            <a:ln>
              <a:noFill/>
            </a:ln>
          </p:spPr>
          <p:txBody>
            <a:bodyPr vert="horz" wrap="square" lIns="43891" tIns="21946" rIns="43891" bIns="21946" numCol="1" anchor="t" anchorCtr="0" compatLnSpc="1">
              <a:prstTxWarp prst="textNoShape">
                <a:avLst/>
              </a:prstTxWarp>
            </a:bodyPr>
            <a:lstStyle/>
            <a:p>
              <a:endParaRPr lang="en-US"/>
            </a:p>
          </p:txBody>
        </p:sp>
      </p:grpSp>
      <p:sp>
        <p:nvSpPr>
          <p:cNvPr id="65" name="Freeform 12"/>
          <p:cNvSpPr>
            <a:spLocks noEditPoints="1"/>
          </p:cNvSpPr>
          <p:nvPr/>
        </p:nvSpPr>
        <p:spPr bwMode="auto">
          <a:xfrm>
            <a:off x="4163989" y="3969706"/>
            <a:ext cx="1800815" cy="1782085"/>
          </a:xfrm>
          <a:custGeom>
            <a:avLst/>
            <a:gdLst>
              <a:gd name="T0" fmla="*/ 1219 w 1318"/>
              <a:gd name="T1" fmla="*/ 689 h 1302"/>
              <a:gd name="T2" fmla="*/ 1318 w 1318"/>
              <a:gd name="T3" fmla="*/ 630 h 1302"/>
              <a:gd name="T4" fmla="*/ 1307 w 1318"/>
              <a:gd name="T5" fmla="*/ 544 h 1302"/>
              <a:gd name="T6" fmla="*/ 1287 w 1318"/>
              <a:gd name="T7" fmla="*/ 459 h 1302"/>
              <a:gd name="T8" fmla="*/ 1169 w 1318"/>
              <a:gd name="T9" fmla="*/ 437 h 1302"/>
              <a:gd name="T10" fmla="*/ 1104 w 1318"/>
              <a:gd name="T11" fmla="*/ 333 h 1302"/>
              <a:gd name="T12" fmla="*/ 1146 w 1318"/>
              <a:gd name="T13" fmla="*/ 213 h 1302"/>
              <a:gd name="T14" fmla="*/ 1082 w 1318"/>
              <a:gd name="T15" fmla="*/ 154 h 1302"/>
              <a:gd name="T16" fmla="*/ 1013 w 1318"/>
              <a:gd name="T17" fmla="*/ 102 h 1302"/>
              <a:gd name="T18" fmla="*/ 891 w 1318"/>
              <a:gd name="T19" fmla="*/ 170 h 1302"/>
              <a:gd name="T20" fmla="*/ 796 w 1318"/>
              <a:gd name="T21" fmla="*/ 138 h 1302"/>
              <a:gd name="T22" fmla="*/ 746 w 1318"/>
              <a:gd name="T23" fmla="*/ 5 h 1302"/>
              <a:gd name="T24" fmla="*/ 659 w 1318"/>
              <a:gd name="T25" fmla="*/ 0 h 1302"/>
              <a:gd name="T26" fmla="*/ 573 w 1318"/>
              <a:gd name="T27" fmla="*/ 5 h 1302"/>
              <a:gd name="T28" fmla="*/ 522 w 1318"/>
              <a:gd name="T29" fmla="*/ 138 h 1302"/>
              <a:gd name="T30" fmla="*/ 428 w 1318"/>
              <a:gd name="T31" fmla="*/ 170 h 1302"/>
              <a:gd name="T32" fmla="*/ 306 w 1318"/>
              <a:gd name="T33" fmla="*/ 101 h 1302"/>
              <a:gd name="T34" fmla="*/ 236 w 1318"/>
              <a:gd name="T35" fmla="*/ 154 h 1302"/>
              <a:gd name="T36" fmla="*/ 173 w 1318"/>
              <a:gd name="T37" fmla="*/ 213 h 1302"/>
              <a:gd name="T38" fmla="*/ 215 w 1318"/>
              <a:gd name="T39" fmla="*/ 333 h 1302"/>
              <a:gd name="T40" fmla="*/ 150 w 1318"/>
              <a:gd name="T41" fmla="*/ 436 h 1302"/>
              <a:gd name="T42" fmla="*/ 31 w 1318"/>
              <a:gd name="T43" fmla="*/ 459 h 1302"/>
              <a:gd name="T44" fmla="*/ 11 w 1318"/>
              <a:gd name="T45" fmla="*/ 543 h 1302"/>
              <a:gd name="T46" fmla="*/ 0 w 1318"/>
              <a:gd name="T47" fmla="*/ 630 h 1302"/>
              <a:gd name="T48" fmla="*/ 100 w 1318"/>
              <a:gd name="T49" fmla="*/ 689 h 1302"/>
              <a:gd name="T50" fmla="*/ 124 w 1318"/>
              <a:gd name="T51" fmla="*/ 819 h 1302"/>
              <a:gd name="T52" fmla="*/ 50 w 1318"/>
              <a:gd name="T53" fmla="*/ 909 h 1302"/>
              <a:gd name="T54" fmla="*/ 89 w 1318"/>
              <a:gd name="T55" fmla="*/ 987 h 1302"/>
              <a:gd name="T56" fmla="*/ 136 w 1318"/>
              <a:gd name="T57" fmla="*/ 1060 h 1302"/>
              <a:gd name="T58" fmla="*/ 260 w 1318"/>
              <a:gd name="T59" fmla="*/ 1039 h 1302"/>
              <a:gd name="T60" fmla="*/ 352 w 1318"/>
              <a:gd name="T61" fmla="*/ 1112 h 1302"/>
              <a:gd name="T62" fmla="*/ 354 w 1318"/>
              <a:gd name="T63" fmla="*/ 1242 h 1302"/>
              <a:gd name="T64" fmla="*/ 434 w 1318"/>
              <a:gd name="T65" fmla="*/ 1276 h 1302"/>
              <a:gd name="T66" fmla="*/ 517 w 1318"/>
              <a:gd name="T67" fmla="*/ 1302 h 1302"/>
              <a:gd name="T68" fmla="*/ 606 w 1318"/>
              <a:gd name="T69" fmla="*/ 1197 h 1302"/>
              <a:gd name="T70" fmla="*/ 659 w 1318"/>
              <a:gd name="T71" fmla="*/ 1200 h 1302"/>
              <a:gd name="T72" fmla="*/ 711 w 1318"/>
              <a:gd name="T73" fmla="*/ 1198 h 1302"/>
              <a:gd name="T74" fmla="*/ 801 w 1318"/>
              <a:gd name="T75" fmla="*/ 1302 h 1302"/>
              <a:gd name="T76" fmla="*/ 884 w 1318"/>
              <a:gd name="T77" fmla="*/ 1277 h 1302"/>
              <a:gd name="T78" fmla="*/ 964 w 1318"/>
              <a:gd name="T79" fmla="*/ 1242 h 1302"/>
              <a:gd name="T80" fmla="*/ 965 w 1318"/>
              <a:gd name="T81" fmla="*/ 1112 h 1302"/>
              <a:gd name="T82" fmla="*/ 1058 w 1318"/>
              <a:gd name="T83" fmla="*/ 1040 h 1302"/>
              <a:gd name="T84" fmla="*/ 1181 w 1318"/>
              <a:gd name="T85" fmla="*/ 1060 h 1302"/>
              <a:gd name="T86" fmla="*/ 1229 w 1318"/>
              <a:gd name="T87" fmla="*/ 987 h 1302"/>
              <a:gd name="T88" fmla="*/ 1268 w 1318"/>
              <a:gd name="T89" fmla="*/ 910 h 1302"/>
              <a:gd name="T90" fmla="*/ 1195 w 1318"/>
              <a:gd name="T91" fmla="*/ 820 h 1302"/>
              <a:gd name="T92" fmla="*/ 1219 w 1318"/>
              <a:gd name="T93" fmla="*/ 689 h 1302"/>
              <a:gd name="T94" fmla="*/ 659 w 1318"/>
              <a:gd name="T95" fmla="*/ 1064 h 1302"/>
              <a:gd name="T96" fmla="*/ 256 w 1318"/>
              <a:gd name="T97" fmla="*/ 661 h 1302"/>
              <a:gd name="T98" fmla="*/ 659 w 1318"/>
              <a:gd name="T99" fmla="*/ 257 h 1302"/>
              <a:gd name="T100" fmla="*/ 1063 w 1318"/>
              <a:gd name="T101" fmla="*/ 661 h 1302"/>
              <a:gd name="T102" fmla="*/ 659 w 1318"/>
              <a:gd name="T103" fmla="*/ 1064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8" h="1302">
                <a:moveTo>
                  <a:pt x="1219" y="689"/>
                </a:moveTo>
                <a:cubicBezTo>
                  <a:pt x="1318" y="630"/>
                  <a:pt x="1318" y="630"/>
                  <a:pt x="1318" y="630"/>
                </a:cubicBezTo>
                <a:cubicBezTo>
                  <a:pt x="1315" y="591"/>
                  <a:pt x="1307" y="544"/>
                  <a:pt x="1307" y="544"/>
                </a:cubicBezTo>
                <a:cubicBezTo>
                  <a:pt x="1307" y="544"/>
                  <a:pt x="1299" y="497"/>
                  <a:pt x="1287" y="459"/>
                </a:cubicBezTo>
                <a:cubicBezTo>
                  <a:pt x="1169" y="437"/>
                  <a:pt x="1169" y="437"/>
                  <a:pt x="1169" y="437"/>
                </a:cubicBezTo>
                <a:cubicBezTo>
                  <a:pt x="1151" y="400"/>
                  <a:pt x="1129" y="365"/>
                  <a:pt x="1104" y="333"/>
                </a:cubicBezTo>
                <a:cubicBezTo>
                  <a:pt x="1146" y="213"/>
                  <a:pt x="1146" y="213"/>
                  <a:pt x="1146" y="213"/>
                </a:cubicBezTo>
                <a:cubicBezTo>
                  <a:pt x="1119" y="184"/>
                  <a:pt x="1082" y="154"/>
                  <a:pt x="1082" y="154"/>
                </a:cubicBezTo>
                <a:cubicBezTo>
                  <a:pt x="1082" y="154"/>
                  <a:pt x="1046" y="124"/>
                  <a:pt x="1013" y="102"/>
                </a:cubicBezTo>
                <a:cubicBezTo>
                  <a:pt x="891" y="170"/>
                  <a:pt x="891" y="170"/>
                  <a:pt x="891" y="170"/>
                </a:cubicBezTo>
                <a:cubicBezTo>
                  <a:pt x="861" y="157"/>
                  <a:pt x="829" y="146"/>
                  <a:pt x="796" y="138"/>
                </a:cubicBezTo>
                <a:cubicBezTo>
                  <a:pt x="746" y="5"/>
                  <a:pt x="746" y="5"/>
                  <a:pt x="746" y="5"/>
                </a:cubicBezTo>
                <a:cubicBezTo>
                  <a:pt x="707" y="0"/>
                  <a:pt x="659" y="0"/>
                  <a:pt x="659" y="0"/>
                </a:cubicBezTo>
                <a:cubicBezTo>
                  <a:pt x="659" y="0"/>
                  <a:pt x="612" y="0"/>
                  <a:pt x="573" y="5"/>
                </a:cubicBezTo>
                <a:cubicBezTo>
                  <a:pt x="522" y="138"/>
                  <a:pt x="522" y="138"/>
                  <a:pt x="522" y="138"/>
                </a:cubicBezTo>
                <a:cubicBezTo>
                  <a:pt x="489" y="146"/>
                  <a:pt x="458" y="157"/>
                  <a:pt x="428" y="170"/>
                </a:cubicBezTo>
                <a:cubicBezTo>
                  <a:pt x="306" y="101"/>
                  <a:pt x="306" y="101"/>
                  <a:pt x="306" y="101"/>
                </a:cubicBezTo>
                <a:cubicBezTo>
                  <a:pt x="272" y="123"/>
                  <a:pt x="236" y="154"/>
                  <a:pt x="236" y="154"/>
                </a:cubicBezTo>
                <a:cubicBezTo>
                  <a:pt x="236" y="154"/>
                  <a:pt x="200" y="184"/>
                  <a:pt x="173" y="213"/>
                </a:cubicBezTo>
                <a:cubicBezTo>
                  <a:pt x="215" y="333"/>
                  <a:pt x="215" y="333"/>
                  <a:pt x="215" y="333"/>
                </a:cubicBezTo>
                <a:cubicBezTo>
                  <a:pt x="189" y="365"/>
                  <a:pt x="168" y="399"/>
                  <a:pt x="150" y="436"/>
                </a:cubicBezTo>
                <a:cubicBezTo>
                  <a:pt x="31" y="459"/>
                  <a:pt x="31" y="459"/>
                  <a:pt x="31" y="459"/>
                </a:cubicBezTo>
                <a:cubicBezTo>
                  <a:pt x="19" y="497"/>
                  <a:pt x="11" y="543"/>
                  <a:pt x="11" y="543"/>
                </a:cubicBezTo>
                <a:cubicBezTo>
                  <a:pt x="11" y="543"/>
                  <a:pt x="3" y="590"/>
                  <a:pt x="0" y="630"/>
                </a:cubicBezTo>
                <a:cubicBezTo>
                  <a:pt x="100" y="689"/>
                  <a:pt x="100" y="689"/>
                  <a:pt x="100" y="689"/>
                </a:cubicBezTo>
                <a:cubicBezTo>
                  <a:pt x="102" y="734"/>
                  <a:pt x="110" y="777"/>
                  <a:pt x="124" y="819"/>
                </a:cubicBezTo>
                <a:cubicBezTo>
                  <a:pt x="50" y="909"/>
                  <a:pt x="50" y="909"/>
                  <a:pt x="50" y="909"/>
                </a:cubicBezTo>
                <a:cubicBezTo>
                  <a:pt x="65" y="946"/>
                  <a:pt x="89" y="987"/>
                  <a:pt x="89" y="987"/>
                </a:cubicBezTo>
                <a:cubicBezTo>
                  <a:pt x="89" y="987"/>
                  <a:pt x="113" y="1028"/>
                  <a:pt x="136" y="1060"/>
                </a:cubicBezTo>
                <a:cubicBezTo>
                  <a:pt x="260" y="1039"/>
                  <a:pt x="260" y="1039"/>
                  <a:pt x="260" y="1039"/>
                </a:cubicBezTo>
                <a:cubicBezTo>
                  <a:pt x="288" y="1066"/>
                  <a:pt x="319" y="1091"/>
                  <a:pt x="352" y="1112"/>
                </a:cubicBezTo>
                <a:cubicBezTo>
                  <a:pt x="354" y="1242"/>
                  <a:pt x="354" y="1242"/>
                  <a:pt x="354" y="1242"/>
                </a:cubicBezTo>
                <a:cubicBezTo>
                  <a:pt x="389" y="1260"/>
                  <a:pt x="434" y="1276"/>
                  <a:pt x="434" y="1276"/>
                </a:cubicBezTo>
                <a:cubicBezTo>
                  <a:pt x="434" y="1276"/>
                  <a:pt x="478" y="1293"/>
                  <a:pt x="517" y="1302"/>
                </a:cubicBezTo>
                <a:cubicBezTo>
                  <a:pt x="606" y="1197"/>
                  <a:pt x="606" y="1197"/>
                  <a:pt x="606" y="1197"/>
                </a:cubicBezTo>
                <a:cubicBezTo>
                  <a:pt x="624" y="1199"/>
                  <a:pt x="641" y="1200"/>
                  <a:pt x="659" y="1200"/>
                </a:cubicBezTo>
                <a:cubicBezTo>
                  <a:pt x="677" y="1200"/>
                  <a:pt x="694" y="1199"/>
                  <a:pt x="711" y="1198"/>
                </a:cubicBezTo>
                <a:cubicBezTo>
                  <a:pt x="801" y="1302"/>
                  <a:pt x="801" y="1302"/>
                  <a:pt x="801" y="1302"/>
                </a:cubicBezTo>
                <a:cubicBezTo>
                  <a:pt x="839" y="1293"/>
                  <a:pt x="884" y="1277"/>
                  <a:pt x="884" y="1277"/>
                </a:cubicBezTo>
                <a:cubicBezTo>
                  <a:pt x="884" y="1277"/>
                  <a:pt x="928" y="1260"/>
                  <a:pt x="964" y="1242"/>
                </a:cubicBezTo>
                <a:cubicBezTo>
                  <a:pt x="965" y="1112"/>
                  <a:pt x="965" y="1112"/>
                  <a:pt x="965" y="1112"/>
                </a:cubicBezTo>
                <a:cubicBezTo>
                  <a:pt x="999" y="1091"/>
                  <a:pt x="1030" y="1067"/>
                  <a:pt x="1058" y="1040"/>
                </a:cubicBezTo>
                <a:cubicBezTo>
                  <a:pt x="1181" y="1060"/>
                  <a:pt x="1181" y="1060"/>
                  <a:pt x="1181" y="1060"/>
                </a:cubicBezTo>
                <a:cubicBezTo>
                  <a:pt x="1205" y="1028"/>
                  <a:pt x="1229" y="987"/>
                  <a:pt x="1229" y="987"/>
                </a:cubicBezTo>
                <a:cubicBezTo>
                  <a:pt x="1229" y="987"/>
                  <a:pt x="1252" y="946"/>
                  <a:pt x="1268" y="910"/>
                </a:cubicBezTo>
                <a:cubicBezTo>
                  <a:pt x="1195" y="820"/>
                  <a:pt x="1195" y="820"/>
                  <a:pt x="1195" y="820"/>
                </a:cubicBezTo>
                <a:cubicBezTo>
                  <a:pt x="1208" y="778"/>
                  <a:pt x="1216" y="734"/>
                  <a:pt x="1219" y="689"/>
                </a:cubicBezTo>
                <a:close/>
                <a:moveTo>
                  <a:pt x="659" y="1064"/>
                </a:moveTo>
                <a:cubicBezTo>
                  <a:pt x="437" y="1064"/>
                  <a:pt x="256" y="884"/>
                  <a:pt x="256" y="661"/>
                </a:cubicBezTo>
                <a:cubicBezTo>
                  <a:pt x="256" y="438"/>
                  <a:pt x="437" y="257"/>
                  <a:pt x="659" y="257"/>
                </a:cubicBezTo>
                <a:cubicBezTo>
                  <a:pt x="882" y="257"/>
                  <a:pt x="1063" y="438"/>
                  <a:pt x="1063" y="661"/>
                </a:cubicBezTo>
                <a:cubicBezTo>
                  <a:pt x="1063" y="884"/>
                  <a:pt x="882" y="1064"/>
                  <a:pt x="659" y="1064"/>
                </a:cubicBezTo>
                <a:close/>
              </a:path>
            </a:pathLst>
          </a:custGeom>
          <a:solidFill>
            <a:srgbClr val="C8C8C8"/>
          </a:solidFill>
          <a:ln>
            <a:noFill/>
          </a:ln>
        </p:spPr>
        <p:txBody>
          <a:bodyPr vert="horz" wrap="square" lIns="65837" tIns="32918" rIns="65837" bIns="32918" numCol="1" anchor="t" anchorCtr="0" compatLnSpc="1">
            <a:prstTxWarp prst="textNoShape">
              <a:avLst/>
            </a:prstTxWarp>
          </a:bodyPr>
          <a:lstStyle/>
          <a:p>
            <a:endParaRPr lang="en-US">
              <a:solidFill>
                <a:srgbClr val="575757"/>
              </a:solidFill>
            </a:endParaRPr>
          </a:p>
        </p:txBody>
      </p:sp>
      <p:sp>
        <p:nvSpPr>
          <p:cNvPr id="66" name="Freeform 12"/>
          <p:cNvSpPr>
            <a:spLocks noEditPoints="1"/>
          </p:cNvSpPr>
          <p:nvPr/>
        </p:nvSpPr>
        <p:spPr bwMode="auto">
          <a:xfrm rot="566179">
            <a:off x="6143717" y="909549"/>
            <a:ext cx="2697910" cy="2788248"/>
          </a:xfrm>
          <a:custGeom>
            <a:avLst/>
            <a:gdLst>
              <a:gd name="T0" fmla="*/ 1219 w 1318"/>
              <a:gd name="T1" fmla="*/ 689 h 1302"/>
              <a:gd name="T2" fmla="*/ 1318 w 1318"/>
              <a:gd name="T3" fmla="*/ 630 h 1302"/>
              <a:gd name="T4" fmla="*/ 1307 w 1318"/>
              <a:gd name="T5" fmla="*/ 544 h 1302"/>
              <a:gd name="T6" fmla="*/ 1287 w 1318"/>
              <a:gd name="T7" fmla="*/ 459 h 1302"/>
              <a:gd name="T8" fmla="*/ 1169 w 1318"/>
              <a:gd name="T9" fmla="*/ 437 h 1302"/>
              <a:gd name="T10" fmla="*/ 1104 w 1318"/>
              <a:gd name="T11" fmla="*/ 333 h 1302"/>
              <a:gd name="T12" fmla="*/ 1146 w 1318"/>
              <a:gd name="T13" fmla="*/ 213 h 1302"/>
              <a:gd name="T14" fmla="*/ 1082 w 1318"/>
              <a:gd name="T15" fmla="*/ 154 h 1302"/>
              <a:gd name="T16" fmla="*/ 1013 w 1318"/>
              <a:gd name="T17" fmla="*/ 102 h 1302"/>
              <a:gd name="T18" fmla="*/ 891 w 1318"/>
              <a:gd name="T19" fmla="*/ 170 h 1302"/>
              <a:gd name="T20" fmla="*/ 796 w 1318"/>
              <a:gd name="T21" fmla="*/ 138 h 1302"/>
              <a:gd name="T22" fmla="*/ 746 w 1318"/>
              <a:gd name="T23" fmla="*/ 5 h 1302"/>
              <a:gd name="T24" fmla="*/ 659 w 1318"/>
              <a:gd name="T25" fmla="*/ 0 h 1302"/>
              <a:gd name="T26" fmla="*/ 573 w 1318"/>
              <a:gd name="T27" fmla="*/ 5 h 1302"/>
              <a:gd name="T28" fmla="*/ 522 w 1318"/>
              <a:gd name="T29" fmla="*/ 138 h 1302"/>
              <a:gd name="T30" fmla="*/ 428 w 1318"/>
              <a:gd name="T31" fmla="*/ 170 h 1302"/>
              <a:gd name="T32" fmla="*/ 306 w 1318"/>
              <a:gd name="T33" fmla="*/ 101 h 1302"/>
              <a:gd name="T34" fmla="*/ 236 w 1318"/>
              <a:gd name="T35" fmla="*/ 154 h 1302"/>
              <a:gd name="T36" fmla="*/ 173 w 1318"/>
              <a:gd name="T37" fmla="*/ 213 h 1302"/>
              <a:gd name="T38" fmla="*/ 215 w 1318"/>
              <a:gd name="T39" fmla="*/ 333 h 1302"/>
              <a:gd name="T40" fmla="*/ 150 w 1318"/>
              <a:gd name="T41" fmla="*/ 436 h 1302"/>
              <a:gd name="T42" fmla="*/ 31 w 1318"/>
              <a:gd name="T43" fmla="*/ 459 h 1302"/>
              <a:gd name="T44" fmla="*/ 11 w 1318"/>
              <a:gd name="T45" fmla="*/ 543 h 1302"/>
              <a:gd name="T46" fmla="*/ 0 w 1318"/>
              <a:gd name="T47" fmla="*/ 630 h 1302"/>
              <a:gd name="T48" fmla="*/ 100 w 1318"/>
              <a:gd name="T49" fmla="*/ 689 h 1302"/>
              <a:gd name="T50" fmla="*/ 124 w 1318"/>
              <a:gd name="T51" fmla="*/ 819 h 1302"/>
              <a:gd name="T52" fmla="*/ 50 w 1318"/>
              <a:gd name="T53" fmla="*/ 909 h 1302"/>
              <a:gd name="T54" fmla="*/ 89 w 1318"/>
              <a:gd name="T55" fmla="*/ 987 h 1302"/>
              <a:gd name="T56" fmla="*/ 136 w 1318"/>
              <a:gd name="T57" fmla="*/ 1060 h 1302"/>
              <a:gd name="T58" fmla="*/ 260 w 1318"/>
              <a:gd name="T59" fmla="*/ 1039 h 1302"/>
              <a:gd name="T60" fmla="*/ 352 w 1318"/>
              <a:gd name="T61" fmla="*/ 1112 h 1302"/>
              <a:gd name="T62" fmla="*/ 354 w 1318"/>
              <a:gd name="T63" fmla="*/ 1242 h 1302"/>
              <a:gd name="T64" fmla="*/ 434 w 1318"/>
              <a:gd name="T65" fmla="*/ 1276 h 1302"/>
              <a:gd name="T66" fmla="*/ 517 w 1318"/>
              <a:gd name="T67" fmla="*/ 1302 h 1302"/>
              <a:gd name="T68" fmla="*/ 606 w 1318"/>
              <a:gd name="T69" fmla="*/ 1197 h 1302"/>
              <a:gd name="T70" fmla="*/ 659 w 1318"/>
              <a:gd name="T71" fmla="*/ 1200 h 1302"/>
              <a:gd name="T72" fmla="*/ 711 w 1318"/>
              <a:gd name="T73" fmla="*/ 1198 h 1302"/>
              <a:gd name="T74" fmla="*/ 801 w 1318"/>
              <a:gd name="T75" fmla="*/ 1302 h 1302"/>
              <a:gd name="T76" fmla="*/ 884 w 1318"/>
              <a:gd name="T77" fmla="*/ 1277 h 1302"/>
              <a:gd name="T78" fmla="*/ 964 w 1318"/>
              <a:gd name="T79" fmla="*/ 1242 h 1302"/>
              <a:gd name="T80" fmla="*/ 965 w 1318"/>
              <a:gd name="T81" fmla="*/ 1112 h 1302"/>
              <a:gd name="T82" fmla="*/ 1058 w 1318"/>
              <a:gd name="T83" fmla="*/ 1040 h 1302"/>
              <a:gd name="T84" fmla="*/ 1181 w 1318"/>
              <a:gd name="T85" fmla="*/ 1060 h 1302"/>
              <a:gd name="T86" fmla="*/ 1229 w 1318"/>
              <a:gd name="T87" fmla="*/ 987 h 1302"/>
              <a:gd name="T88" fmla="*/ 1268 w 1318"/>
              <a:gd name="T89" fmla="*/ 910 h 1302"/>
              <a:gd name="T90" fmla="*/ 1195 w 1318"/>
              <a:gd name="T91" fmla="*/ 820 h 1302"/>
              <a:gd name="T92" fmla="*/ 1219 w 1318"/>
              <a:gd name="T93" fmla="*/ 689 h 1302"/>
              <a:gd name="T94" fmla="*/ 659 w 1318"/>
              <a:gd name="T95" fmla="*/ 1064 h 1302"/>
              <a:gd name="T96" fmla="*/ 256 w 1318"/>
              <a:gd name="T97" fmla="*/ 661 h 1302"/>
              <a:gd name="T98" fmla="*/ 659 w 1318"/>
              <a:gd name="T99" fmla="*/ 257 h 1302"/>
              <a:gd name="T100" fmla="*/ 1063 w 1318"/>
              <a:gd name="T101" fmla="*/ 661 h 1302"/>
              <a:gd name="T102" fmla="*/ 659 w 1318"/>
              <a:gd name="T103" fmla="*/ 1064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8" h="1302">
                <a:moveTo>
                  <a:pt x="1219" y="689"/>
                </a:moveTo>
                <a:cubicBezTo>
                  <a:pt x="1318" y="630"/>
                  <a:pt x="1318" y="630"/>
                  <a:pt x="1318" y="630"/>
                </a:cubicBezTo>
                <a:cubicBezTo>
                  <a:pt x="1315" y="591"/>
                  <a:pt x="1307" y="544"/>
                  <a:pt x="1307" y="544"/>
                </a:cubicBezTo>
                <a:cubicBezTo>
                  <a:pt x="1307" y="544"/>
                  <a:pt x="1299" y="497"/>
                  <a:pt x="1287" y="459"/>
                </a:cubicBezTo>
                <a:cubicBezTo>
                  <a:pt x="1169" y="437"/>
                  <a:pt x="1169" y="437"/>
                  <a:pt x="1169" y="437"/>
                </a:cubicBezTo>
                <a:cubicBezTo>
                  <a:pt x="1151" y="400"/>
                  <a:pt x="1129" y="365"/>
                  <a:pt x="1104" y="333"/>
                </a:cubicBezTo>
                <a:cubicBezTo>
                  <a:pt x="1146" y="213"/>
                  <a:pt x="1146" y="213"/>
                  <a:pt x="1146" y="213"/>
                </a:cubicBezTo>
                <a:cubicBezTo>
                  <a:pt x="1119" y="184"/>
                  <a:pt x="1082" y="154"/>
                  <a:pt x="1082" y="154"/>
                </a:cubicBezTo>
                <a:cubicBezTo>
                  <a:pt x="1082" y="154"/>
                  <a:pt x="1046" y="124"/>
                  <a:pt x="1013" y="102"/>
                </a:cubicBezTo>
                <a:cubicBezTo>
                  <a:pt x="891" y="170"/>
                  <a:pt x="891" y="170"/>
                  <a:pt x="891" y="170"/>
                </a:cubicBezTo>
                <a:cubicBezTo>
                  <a:pt x="861" y="157"/>
                  <a:pt x="829" y="146"/>
                  <a:pt x="796" y="138"/>
                </a:cubicBezTo>
                <a:cubicBezTo>
                  <a:pt x="746" y="5"/>
                  <a:pt x="746" y="5"/>
                  <a:pt x="746" y="5"/>
                </a:cubicBezTo>
                <a:cubicBezTo>
                  <a:pt x="707" y="0"/>
                  <a:pt x="659" y="0"/>
                  <a:pt x="659" y="0"/>
                </a:cubicBezTo>
                <a:cubicBezTo>
                  <a:pt x="659" y="0"/>
                  <a:pt x="612" y="0"/>
                  <a:pt x="573" y="5"/>
                </a:cubicBezTo>
                <a:cubicBezTo>
                  <a:pt x="522" y="138"/>
                  <a:pt x="522" y="138"/>
                  <a:pt x="522" y="138"/>
                </a:cubicBezTo>
                <a:cubicBezTo>
                  <a:pt x="489" y="146"/>
                  <a:pt x="458" y="157"/>
                  <a:pt x="428" y="170"/>
                </a:cubicBezTo>
                <a:cubicBezTo>
                  <a:pt x="306" y="101"/>
                  <a:pt x="306" y="101"/>
                  <a:pt x="306" y="101"/>
                </a:cubicBezTo>
                <a:cubicBezTo>
                  <a:pt x="272" y="123"/>
                  <a:pt x="236" y="154"/>
                  <a:pt x="236" y="154"/>
                </a:cubicBezTo>
                <a:cubicBezTo>
                  <a:pt x="236" y="154"/>
                  <a:pt x="200" y="184"/>
                  <a:pt x="173" y="213"/>
                </a:cubicBezTo>
                <a:cubicBezTo>
                  <a:pt x="215" y="333"/>
                  <a:pt x="215" y="333"/>
                  <a:pt x="215" y="333"/>
                </a:cubicBezTo>
                <a:cubicBezTo>
                  <a:pt x="189" y="365"/>
                  <a:pt x="168" y="399"/>
                  <a:pt x="150" y="436"/>
                </a:cubicBezTo>
                <a:cubicBezTo>
                  <a:pt x="31" y="459"/>
                  <a:pt x="31" y="459"/>
                  <a:pt x="31" y="459"/>
                </a:cubicBezTo>
                <a:cubicBezTo>
                  <a:pt x="19" y="497"/>
                  <a:pt x="11" y="543"/>
                  <a:pt x="11" y="543"/>
                </a:cubicBezTo>
                <a:cubicBezTo>
                  <a:pt x="11" y="543"/>
                  <a:pt x="3" y="590"/>
                  <a:pt x="0" y="630"/>
                </a:cubicBezTo>
                <a:cubicBezTo>
                  <a:pt x="100" y="689"/>
                  <a:pt x="100" y="689"/>
                  <a:pt x="100" y="689"/>
                </a:cubicBezTo>
                <a:cubicBezTo>
                  <a:pt x="102" y="734"/>
                  <a:pt x="110" y="777"/>
                  <a:pt x="124" y="819"/>
                </a:cubicBezTo>
                <a:cubicBezTo>
                  <a:pt x="50" y="909"/>
                  <a:pt x="50" y="909"/>
                  <a:pt x="50" y="909"/>
                </a:cubicBezTo>
                <a:cubicBezTo>
                  <a:pt x="65" y="946"/>
                  <a:pt x="89" y="987"/>
                  <a:pt x="89" y="987"/>
                </a:cubicBezTo>
                <a:cubicBezTo>
                  <a:pt x="89" y="987"/>
                  <a:pt x="113" y="1028"/>
                  <a:pt x="136" y="1060"/>
                </a:cubicBezTo>
                <a:cubicBezTo>
                  <a:pt x="260" y="1039"/>
                  <a:pt x="260" y="1039"/>
                  <a:pt x="260" y="1039"/>
                </a:cubicBezTo>
                <a:cubicBezTo>
                  <a:pt x="288" y="1066"/>
                  <a:pt x="319" y="1091"/>
                  <a:pt x="352" y="1112"/>
                </a:cubicBezTo>
                <a:cubicBezTo>
                  <a:pt x="354" y="1242"/>
                  <a:pt x="354" y="1242"/>
                  <a:pt x="354" y="1242"/>
                </a:cubicBezTo>
                <a:cubicBezTo>
                  <a:pt x="389" y="1260"/>
                  <a:pt x="434" y="1276"/>
                  <a:pt x="434" y="1276"/>
                </a:cubicBezTo>
                <a:cubicBezTo>
                  <a:pt x="434" y="1276"/>
                  <a:pt x="478" y="1293"/>
                  <a:pt x="517" y="1302"/>
                </a:cubicBezTo>
                <a:cubicBezTo>
                  <a:pt x="606" y="1197"/>
                  <a:pt x="606" y="1197"/>
                  <a:pt x="606" y="1197"/>
                </a:cubicBezTo>
                <a:cubicBezTo>
                  <a:pt x="624" y="1199"/>
                  <a:pt x="641" y="1200"/>
                  <a:pt x="659" y="1200"/>
                </a:cubicBezTo>
                <a:cubicBezTo>
                  <a:pt x="677" y="1200"/>
                  <a:pt x="694" y="1199"/>
                  <a:pt x="711" y="1198"/>
                </a:cubicBezTo>
                <a:cubicBezTo>
                  <a:pt x="801" y="1302"/>
                  <a:pt x="801" y="1302"/>
                  <a:pt x="801" y="1302"/>
                </a:cubicBezTo>
                <a:cubicBezTo>
                  <a:pt x="839" y="1293"/>
                  <a:pt x="884" y="1277"/>
                  <a:pt x="884" y="1277"/>
                </a:cubicBezTo>
                <a:cubicBezTo>
                  <a:pt x="884" y="1277"/>
                  <a:pt x="928" y="1260"/>
                  <a:pt x="964" y="1242"/>
                </a:cubicBezTo>
                <a:cubicBezTo>
                  <a:pt x="965" y="1112"/>
                  <a:pt x="965" y="1112"/>
                  <a:pt x="965" y="1112"/>
                </a:cubicBezTo>
                <a:cubicBezTo>
                  <a:pt x="999" y="1091"/>
                  <a:pt x="1030" y="1067"/>
                  <a:pt x="1058" y="1040"/>
                </a:cubicBezTo>
                <a:cubicBezTo>
                  <a:pt x="1181" y="1060"/>
                  <a:pt x="1181" y="1060"/>
                  <a:pt x="1181" y="1060"/>
                </a:cubicBezTo>
                <a:cubicBezTo>
                  <a:pt x="1205" y="1028"/>
                  <a:pt x="1229" y="987"/>
                  <a:pt x="1229" y="987"/>
                </a:cubicBezTo>
                <a:cubicBezTo>
                  <a:pt x="1229" y="987"/>
                  <a:pt x="1252" y="946"/>
                  <a:pt x="1268" y="910"/>
                </a:cubicBezTo>
                <a:cubicBezTo>
                  <a:pt x="1195" y="820"/>
                  <a:pt x="1195" y="820"/>
                  <a:pt x="1195" y="820"/>
                </a:cubicBezTo>
                <a:cubicBezTo>
                  <a:pt x="1208" y="778"/>
                  <a:pt x="1216" y="734"/>
                  <a:pt x="1219" y="689"/>
                </a:cubicBezTo>
                <a:close/>
                <a:moveTo>
                  <a:pt x="659" y="1064"/>
                </a:moveTo>
                <a:cubicBezTo>
                  <a:pt x="437" y="1064"/>
                  <a:pt x="256" y="884"/>
                  <a:pt x="256" y="661"/>
                </a:cubicBezTo>
                <a:cubicBezTo>
                  <a:pt x="256" y="438"/>
                  <a:pt x="437" y="257"/>
                  <a:pt x="659" y="257"/>
                </a:cubicBezTo>
                <a:cubicBezTo>
                  <a:pt x="882" y="257"/>
                  <a:pt x="1063" y="438"/>
                  <a:pt x="1063" y="661"/>
                </a:cubicBezTo>
                <a:cubicBezTo>
                  <a:pt x="1063" y="884"/>
                  <a:pt x="882" y="1064"/>
                  <a:pt x="659" y="1064"/>
                </a:cubicBezTo>
                <a:close/>
              </a:path>
            </a:pathLst>
          </a:custGeom>
          <a:solidFill>
            <a:srgbClr val="C8C8C8"/>
          </a:solidFill>
          <a:ln>
            <a:noFill/>
          </a:ln>
        </p:spPr>
        <p:txBody>
          <a:bodyPr vert="horz" wrap="square" lIns="65837" tIns="32918" rIns="65837" bIns="32918" numCol="1" anchor="t" anchorCtr="0" compatLnSpc="1">
            <a:prstTxWarp prst="textNoShape">
              <a:avLst/>
            </a:prstTxWarp>
          </a:bodyPr>
          <a:lstStyle/>
          <a:p>
            <a:endParaRPr lang="en-US">
              <a:solidFill>
                <a:srgbClr val="575757"/>
              </a:solidFill>
            </a:endParaRPr>
          </a:p>
        </p:txBody>
      </p:sp>
      <p:pic>
        <p:nvPicPr>
          <p:cNvPr id="574470" name="Picture 6"/>
          <p:cNvPicPr>
            <a:picLocks noChangeAspect="1" noChangeArrowheads="1"/>
          </p:cNvPicPr>
          <p:nvPr/>
        </p:nvPicPr>
        <p:blipFill rotWithShape="1">
          <a:blip r:embed="rId9">
            <a:extLst>
              <a:ext uri="{28A0092B-C50C-407E-A947-70E740481C1C}">
                <a14:useLocalDpi xmlns:a14="http://schemas.microsoft.com/office/drawing/2010/main" val="0"/>
              </a:ext>
            </a:extLst>
          </a:blip>
          <a:srcRect t="16325" b="24940"/>
          <a:stretch/>
        </p:blipFill>
        <p:spPr bwMode="auto">
          <a:xfrm>
            <a:off x="4589028" y="4523744"/>
            <a:ext cx="990048" cy="581497"/>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TextBox 10"/>
          <p:cNvSpPr txBox="1"/>
          <p:nvPr/>
        </p:nvSpPr>
        <p:spPr>
          <a:xfrm>
            <a:off x="6821524" y="4482408"/>
            <a:ext cx="933880" cy="338162"/>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160">
                <a:solidFill>
                  <a:srgbClr val="C8C8C8"/>
                </a:solidFill>
              </a:rPr>
              <a:t>Others</a:t>
            </a:r>
          </a:p>
        </p:txBody>
      </p:sp>
      <p:sp>
        <p:nvSpPr>
          <p:cNvPr id="12" name="TextBox 11"/>
          <p:cNvSpPr txBox="1"/>
          <p:nvPr/>
        </p:nvSpPr>
        <p:spPr>
          <a:xfrm>
            <a:off x="373013" y="1706067"/>
            <a:ext cx="2900279" cy="1858068"/>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2000" b="1">
                <a:solidFill>
                  <a:srgbClr val="00AEEF"/>
                </a:solidFill>
              </a:rPr>
              <a:t>Expertise in children </a:t>
            </a:r>
          </a:p>
          <a:p>
            <a:pPr algn="r"/>
            <a:r>
              <a:rPr lang="en-US" sz="2000" b="1">
                <a:solidFill>
                  <a:srgbClr val="00AEEF"/>
                </a:solidFill>
              </a:rPr>
              <a:t>and adolescents</a:t>
            </a:r>
          </a:p>
          <a:p>
            <a:pPr algn="r"/>
            <a:endParaRPr lang="en-US" sz="1600">
              <a:solidFill>
                <a:srgbClr val="575757"/>
              </a:solidFill>
            </a:endParaRPr>
          </a:p>
          <a:p>
            <a:pPr algn="r"/>
            <a:r>
              <a:rPr lang="en-US" sz="1400">
                <a:solidFill>
                  <a:srgbClr val="77777A"/>
                </a:solidFill>
              </a:rPr>
              <a:t>Global network with field office presence in 128 countries</a:t>
            </a:r>
          </a:p>
          <a:p>
            <a:pPr algn="r"/>
            <a:endParaRPr lang="en-US" sz="1400">
              <a:solidFill>
                <a:srgbClr val="77777A"/>
              </a:solidFill>
            </a:endParaRPr>
          </a:p>
          <a:p>
            <a:pPr algn="r"/>
            <a:r>
              <a:rPr lang="en-US" sz="1400">
                <a:solidFill>
                  <a:srgbClr val="77777A"/>
                </a:solidFill>
              </a:rPr>
              <a:t>Potential to encourage at scale adoption of Learning Passport</a:t>
            </a:r>
          </a:p>
        </p:txBody>
      </p:sp>
      <p:sp>
        <p:nvSpPr>
          <p:cNvPr id="89" name="TextBox 88"/>
          <p:cNvSpPr txBox="1"/>
          <p:nvPr/>
        </p:nvSpPr>
        <p:spPr>
          <a:xfrm>
            <a:off x="170120" y="3888238"/>
            <a:ext cx="3103171" cy="1858068"/>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2000" b="1">
                <a:solidFill>
                  <a:srgbClr val="00AEEF"/>
                </a:solidFill>
              </a:rPr>
              <a:t>Expertise in technology</a:t>
            </a:r>
          </a:p>
          <a:p>
            <a:pPr algn="r"/>
            <a:endParaRPr lang="en-US" sz="1600">
              <a:solidFill>
                <a:srgbClr val="575757"/>
              </a:solidFill>
            </a:endParaRPr>
          </a:p>
          <a:p>
            <a:pPr algn="r"/>
            <a:r>
              <a:rPr lang="en-US" sz="1400">
                <a:solidFill>
                  <a:srgbClr val="77777A"/>
                </a:solidFill>
              </a:rPr>
              <a:t>Ability to develop</a:t>
            </a:r>
          </a:p>
          <a:p>
            <a:pPr algn="r"/>
            <a:r>
              <a:rPr lang="en-US" sz="1400">
                <a:solidFill>
                  <a:srgbClr val="77777A"/>
                </a:solidFill>
              </a:rPr>
              <a:t> at-scale tech platform </a:t>
            </a:r>
          </a:p>
          <a:p>
            <a:pPr algn="r"/>
            <a:endParaRPr lang="en-US" sz="1400">
              <a:solidFill>
                <a:srgbClr val="77777A"/>
              </a:solidFill>
            </a:endParaRPr>
          </a:p>
          <a:p>
            <a:pPr algn="r"/>
            <a:r>
              <a:rPr lang="en-US" sz="1400">
                <a:solidFill>
                  <a:srgbClr val="77777A"/>
                </a:solidFill>
              </a:rPr>
              <a:t>Expertise to provide facilitator support and ensure recording and verifying of education </a:t>
            </a:r>
          </a:p>
        </p:txBody>
      </p:sp>
      <p:sp>
        <p:nvSpPr>
          <p:cNvPr id="90" name="TextBox 89"/>
          <p:cNvSpPr txBox="1"/>
          <p:nvPr/>
        </p:nvSpPr>
        <p:spPr>
          <a:xfrm>
            <a:off x="8695220" y="1706067"/>
            <a:ext cx="2968696" cy="1858068"/>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b="1" dirty="0">
                <a:solidFill>
                  <a:srgbClr val="00AEEF"/>
                </a:solidFill>
              </a:rPr>
              <a:t>Expertise in education</a:t>
            </a:r>
          </a:p>
          <a:p>
            <a:endParaRPr lang="en-US" sz="1600" dirty="0">
              <a:solidFill>
                <a:srgbClr val="575757"/>
              </a:solidFill>
            </a:endParaRPr>
          </a:p>
          <a:p>
            <a:r>
              <a:rPr lang="en-US" sz="1400" dirty="0">
                <a:solidFill>
                  <a:srgbClr val="77777A"/>
                </a:solidFill>
              </a:rPr>
              <a:t>Strong credibility and high-quality education content providers</a:t>
            </a:r>
          </a:p>
        </p:txBody>
      </p:sp>
      <p:sp>
        <p:nvSpPr>
          <p:cNvPr id="91" name="TextBox 90"/>
          <p:cNvSpPr txBox="1"/>
          <p:nvPr/>
        </p:nvSpPr>
        <p:spPr>
          <a:xfrm>
            <a:off x="8695221" y="3888238"/>
            <a:ext cx="2726658" cy="1858068"/>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b="1">
                <a:solidFill>
                  <a:srgbClr val="77777A"/>
                </a:solidFill>
              </a:rPr>
              <a:t>Future additional partners</a:t>
            </a:r>
          </a:p>
          <a:p>
            <a:endParaRPr lang="en-US" sz="1600">
              <a:solidFill>
                <a:srgbClr val="575757"/>
              </a:solidFill>
            </a:endParaRPr>
          </a:p>
          <a:p>
            <a:r>
              <a:rPr lang="en-US" sz="1400">
                <a:solidFill>
                  <a:srgbClr val="77777A"/>
                </a:solidFill>
              </a:rPr>
              <a:t>Complementary expertise through partners </a:t>
            </a:r>
          </a:p>
          <a:p>
            <a:endParaRPr lang="en-US" sz="1400">
              <a:solidFill>
                <a:srgbClr val="77777A"/>
              </a:solidFill>
            </a:endParaRPr>
          </a:p>
          <a:p>
            <a:r>
              <a:rPr lang="en-US" sz="1400">
                <a:solidFill>
                  <a:srgbClr val="77777A"/>
                </a:solidFill>
              </a:rPr>
              <a:t>E.g., local NGOs, governments, other UN agencies</a:t>
            </a:r>
          </a:p>
        </p:txBody>
      </p:sp>
      <p:sp>
        <p:nvSpPr>
          <p:cNvPr id="35" name="Freeform 34"/>
          <p:cNvSpPr>
            <a:spLocks noChangeAspect="1"/>
          </p:cNvSpPr>
          <p:nvPr/>
        </p:nvSpPr>
        <p:spPr bwMode="auto">
          <a:xfrm>
            <a:off x="3535052" y="6062962"/>
            <a:ext cx="2069559" cy="43253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177B5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 name="TextBox 3"/>
          <p:cNvSpPr txBox="1"/>
          <p:nvPr/>
        </p:nvSpPr>
        <p:spPr>
          <a:xfrm>
            <a:off x="5604609" y="5970744"/>
            <a:ext cx="2922671" cy="593889"/>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SzPct val="100000"/>
              <a:buFont typeface="Trebuchet MS" panose="020B0603020202020204" pitchFamily="34" charset="0"/>
              <a:buChar char="​"/>
            </a:pPr>
            <a:r>
              <a:rPr lang="en-US" sz="1400">
                <a:solidFill>
                  <a:srgbClr val="77777A">
                    <a:lumMod val="100000"/>
                  </a:srgbClr>
                </a:solidFill>
                <a:latin typeface="Arial" panose="020B0604020202020204" pitchFamily="34" charset="0"/>
              </a:rPr>
              <a:t>Providing support in </a:t>
            </a:r>
            <a:r>
              <a:rPr lang="en-US" sz="1400" b="1">
                <a:solidFill>
                  <a:srgbClr val="00AEEF"/>
                </a:solidFill>
                <a:latin typeface="Arial" panose="020B0604020202020204" pitchFamily="34" charset="0"/>
              </a:rPr>
              <a:t>go-to-market strategy </a:t>
            </a:r>
            <a:r>
              <a:rPr lang="en-US" sz="1400">
                <a:solidFill>
                  <a:srgbClr val="77777A">
                    <a:lumMod val="100000"/>
                  </a:srgbClr>
                </a:solidFill>
                <a:latin typeface="Arial" panose="020B0604020202020204" pitchFamily="34" charset="0"/>
              </a:rPr>
              <a:t>and business plan</a:t>
            </a:r>
          </a:p>
        </p:txBody>
      </p:sp>
      <p:pic>
        <p:nvPicPr>
          <p:cNvPr id="37" name="Picture 2" descr="UNICEF for every child">
            <a:extLst>
              <a:ext uri="{FF2B5EF4-FFF2-40B4-BE49-F238E27FC236}">
                <a16:creationId xmlns:a16="http://schemas.microsoft.com/office/drawing/2014/main" id="{42F5A359-C18C-4FF8-BFD4-21A3824E1A4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7999" t="17199" r="16130" b="17752"/>
          <a:stretch/>
        </p:blipFill>
        <p:spPr bwMode="auto">
          <a:xfrm>
            <a:off x="4163989" y="2470964"/>
            <a:ext cx="1005295" cy="662660"/>
          </a:xfrm>
          <a:prstGeom prst="rect">
            <a:avLst/>
          </a:prstGeom>
          <a:noFill/>
          <a:extLst>
            <a:ext uri="{909E8E84-426E-40DD-AFC4-6F175D3DCCD1}">
              <a14:hiddenFill xmlns:a14="http://schemas.microsoft.com/office/drawing/2010/main">
                <a:solidFill>
                  <a:srgbClr val="FFFFFF"/>
                </a:solidFill>
              </a14:hiddenFill>
            </a:ext>
          </a:extLst>
        </p:spPr>
      </p:pic>
      <p:sp>
        <p:nvSpPr>
          <p:cNvPr id="46" name="Freeform 12"/>
          <p:cNvSpPr>
            <a:spLocks noEditPoints="1"/>
          </p:cNvSpPr>
          <p:nvPr/>
        </p:nvSpPr>
        <p:spPr bwMode="auto">
          <a:xfrm>
            <a:off x="3770951" y="1897932"/>
            <a:ext cx="1800815" cy="1782085"/>
          </a:xfrm>
          <a:custGeom>
            <a:avLst/>
            <a:gdLst>
              <a:gd name="T0" fmla="*/ 1219 w 1318"/>
              <a:gd name="T1" fmla="*/ 689 h 1302"/>
              <a:gd name="T2" fmla="*/ 1318 w 1318"/>
              <a:gd name="T3" fmla="*/ 630 h 1302"/>
              <a:gd name="T4" fmla="*/ 1307 w 1318"/>
              <a:gd name="T5" fmla="*/ 544 h 1302"/>
              <a:gd name="T6" fmla="*/ 1287 w 1318"/>
              <a:gd name="T7" fmla="*/ 459 h 1302"/>
              <a:gd name="T8" fmla="*/ 1169 w 1318"/>
              <a:gd name="T9" fmla="*/ 437 h 1302"/>
              <a:gd name="T10" fmla="*/ 1104 w 1318"/>
              <a:gd name="T11" fmla="*/ 333 h 1302"/>
              <a:gd name="T12" fmla="*/ 1146 w 1318"/>
              <a:gd name="T13" fmla="*/ 213 h 1302"/>
              <a:gd name="T14" fmla="*/ 1082 w 1318"/>
              <a:gd name="T15" fmla="*/ 154 h 1302"/>
              <a:gd name="T16" fmla="*/ 1013 w 1318"/>
              <a:gd name="T17" fmla="*/ 102 h 1302"/>
              <a:gd name="T18" fmla="*/ 891 w 1318"/>
              <a:gd name="T19" fmla="*/ 170 h 1302"/>
              <a:gd name="T20" fmla="*/ 796 w 1318"/>
              <a:gd name="T21" fmla="*/ 138 h 1302"/>
              <a:gd name="T22" fmla="*/ 746 w 1318"/>
              <a:gd name="T23" fmla="*/ 5 h 1302"/>
              <a:gd name="T24" fmla="*/ 659 w 1318"/>
              <a:gd name="T25" fmla="*/ 0 h 1302"/>
              <a:gd name="T26" fmla="*/ 573 w 1318"/>
              <a:gd name="T27" fmla="*/ 5 h 1302"/>
              <a:gd name="T28" fmla="*/ 522 w 1318"/>
              <a:gd name="T29" fmla="*/ 138 h 1302"/>
              <a:gd name="T30" fmla="*/ 428 w 1318"/>
              <a:gd name="T31" fmla="*/ 170 h 1302"/>
              <a:gd name="T32" fmla="*/ 306 w 1318"/>
              <a:gd name="T33" fmla="*/ 101 h 1302"/>
              <a:gd name="T34" fmla="*/ 236 w 1318"/>
              <a:gd name="T35" fmla="*/ 154 h 1302"/>
              <a:gd name="T36" fmla="*/ 173 w 1318"/>
              <a:gd name="T37" fmla="*/ 213 h 1302"/>
              <a:gd name="T38" fmla="*/ 215 w 1318"/>
              <a:gd name="T39" fmla="*/ 333 h 1302"/>
              <a:gd name="T40" fmla="*/ 150 w 1318"/>
              <a:gd name="T41" fmla="*/ 436 h 1302"/>
              <a:gd name="T42" fmla="*/ 31 w 1318"/>
              <a:gd name="T43" fmla="*/ 459 h 1302"/>
              <a:gd name="T44" fmla="*/ 11 w 1318"/>
              <a:gd name="T45" fmla="*/ 543 h 1302"/>
              <a:gd name="T46" fmla="*/ 0 w 1318"/>
              <a:gd name="T47" fmla="*/ 630 h 1302"/>
              <a:gd name="T48" fmla="*/ 100 w 1318"/>
              <a:gd name="T49" fmla="*/ 689 h 1302"/>
              <a:gd name="T50" fmla="*/ 124 w 1318"/>
              <a:gd name="T51" fmla="*/ 819 h 1302"/>
              <a:gd name="T52" fmla="*/ 50 w 1318"/>
              <a:gd name="T53" fmla="*/ 909 h 1302"/>
              <a:gd name="T54" fmla="*/ 89 w 1318"/>
              <a:gd name="T55" fmla="*/ 987 h 1302"/>
              <a:gd name="T56" fmla="*/ 136 w 1318"/>
              <a:gd name="T57" fmla="*/ 1060 h 1302"/>
              <a:gd name="T58" fmla="*/ 260 w 1318"/>
              <a:gd name="T59" fmla="*/ 1039 h 1302"/>
              <a:gd name="T60" fmla="*/ 352 w 1318"/>
              <a:gd name="T61" fmla="*/ 1112 h 1302"/>
              <a:gd name="T62" fmla="*/ 354 w 1318"/>
              <a:gd name="T63" fmla="*/ 1242 h 1302"/>
              <a:gd name="T64" fmla="*/ 434 w 1318"/>
              <a:gd name="T65" fmla="*/ 1276 h 1302"/>
              <a:gd name="T66" fmla="*/ 517 w 1318"/>
              <a:gd name="T67" fmla="*/ 1302 h 1302"/>
              <a:gd name="T68" fmla="*/ 606 w 1318"/>
              <a:gd name="T69" fmla="*/ 1197 h 1302"/>
              <a:gd name="T70" fmla="*/ 659 w 1318"/>
              <a:gd name="T71" fmla="*/ 1200 h 1302"/>
              <a:gd name="T72" fmla="*/ 711 w 1318"/>
              <a:gd name="T73" fmla="*/ 1198 h 1302"/>
              <a:gd name="T74" fmla="*/ 801 w 1318"/>
              <a:gd name="T75" fmla="*/ 1302 h 1302"/>
              <a:gd name="T76" fmla="*/ 884 w 1318"/>
              <a:gd name="T77" fmla="*/ 1277 h 1302"/>
              <a:gd name="T78" fmla="*/ 964 w 1318"/>
              <a:gd name="T79" fmla="*/ 1242 h 1302"/>
              <a:gd name="T80" fmla="*/ 965 w 1318"/>
              <a:gd name="T81" fmla="*/ 1112 h 1302"/>
              <a:gd name="T82" fmla="*/ 1058 w 1318"/>
              <a:gd name="T83" fmla="*/ 1040 h 1302"/>
              <a:gd name="T84" fmla="*/ 1181 w 1318"/>
              <a:gd name="T85" fmla="*/ 1060 h 1302"/>
              <a:gd name="T86" fmla="*/ 1229 w 1318"/>
              <a:gd name="T87" fmla="*/ 987 h 1302"/>
              <a:gd name="T88" fmla="*/ 1268 w 1318"/>
              <a:gd name="T89" fmla="*/ 910 h 1302"/>
              <a:gd name="T90" fmla="*/ 1195 w 1318"/>
              <a:gd name="T91" fmla="*/ 820 h 1302"/>
              <a:gd name="T92" fmla="*/ 1219 w 1318"/>
              <a:gd name="T93" fmla="*/ 689 h 1302"/>
              <a:gd name="T94" fmla="*/ 659 w 1318"/>
              <a:gd name="T95" fmla="*/ 1064 h 1302"/>
              <a:gd name="T96" fmla="*/ 256 w 1318"/>
              <a:gd name="T97" fmla="*/ 661 h 1302"/>
              <a:gd name="T98" fmla="*/ 659 w 1318"/>
              <a:gd name="T99" fmla="*/ 257 h 1302"/>
              <a:gd name="T100" fmla="*/ 1063 w 1318"/>
              <a:gd name="T101" fmla="*/ 661 h 1302"/>
              <a:gd name="T102" fmla="*/ 659 w 1318"/>
              <a:gd name="T103" fmla="*/ 1064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8" h="1302">
                <a:moveTo>
                  <a:pt x="1219" y="689"/>
                </a:moveTo>
                <a:cubicBezTo>
                  <a:pt x="1318" y="630"/>
                  <a:pt x="1318" y="630"/>
                  <a:pt x="1318" y="630"/>
                </a:cubicBezTo>
                <a:cubicBezTo>
                  <a:pt x="1315" y="591"/>
                  <a:pt x="1307" y="544"/>
                  <a:pt x="1307" y="544"/>
                </a:cubicBezTo>
                <a:cubicBezTo>
                  <a:pt x="1307" y="544"/>
                  <a:pt x="1299" y="497"/>
                  <a:pt x="1287" y="459"/>
                </a:cubicBezTo>
                <a:cubicBezTo>
                  <a:pt x="1169" y="437"/>
                  <a:pt x="1169" y="437"/>
                  <a:pt x="1169" y="437"/>
                </a:cubicBezTo>
                <a:cubicBezTo>
                  <a:pt x="1151" y="400"/>
                  <a:pt x="1129" y="365"/>
                  <a:pt x="1104" y="333"/>
                </a:cubicBezTo>
                <a:cubicBezTo>
                  <a:pt x="1146" y="213"/>
                  <a:pt x="1146" y="213"/>
                  <a:pt x="1146" y="213"/>
                </a:cubicBezTo>
                <a:cubicBezTo>
                  <a:pt x="1119" y="184"/>
                  <a:pt x="1082" y="154"/>
                  <a:pt x="1082" y="154"/>
                </a:cubicBezTo>
                <a:cubicBezTo>
                  <a:pt x="1082" y="154"/>
                  <a:pt x="1046" y="124"/>
                  <a:pt x="1013" y="102"/>
                </a:cubicBezTo>
                <a:cubicBezTo>
                  <a:pt x="891" y="170"/>
                  <a:pt x="891" y="170"/>
                  <a:pt x="891" y="170"/>
                </a:cubicBezTo>
                <a:cubicBezTo>
                  <a:pt x="861" y="157"/>
                  <a:pt x="829" y="146"/>
                  <a:pt x="796" y="138"/>
                </a:cubicBezTo>
                <a:cubicBezTo>
                  <a:pt x="746" y="5"/>
                  <a:pt x="746" y="5"/>
                  <a:pt x="746" y="5"/>
                </a:cubicBezTo>
                <a:cubicBezTo>
                  <a:pt x="707" y="0"/>
                  <a:pt x="659" y="0"/>
                  <a:pt x="659" y="0"/>
                </a:cubicBezTo>
                <a:cubicBezTo>
                  <a:pt x="659" y="0"/>
                  <a:pt x="612" y="0"/>
                  <a:pt x="573" y="5"/>
                </a:cubicBezTo>
                <a:cubicBezTo>
                  <a:pt x="522" y="138"/>
                  <a:pt x="522" y="138"/>
                  <a:pt x="522" y="138"/>
                </a:cubicBezTo>
                <a:cubicBezTo>
                  <a:pt x="489" y="146"/>
                  <a:pt x="458" y="157"/>
                  <a:pt x="428" y="170"/>
                </a:cubicBezTo>
                <a:cubicBezTo>
                  <a:pt x="306" y="101"/>
                  <a:pt x="306" y="101"/>
                  <a:pt x="306" y="101"/>
                </a:cubicBezTo>
                <a:cubicBezTo>
                  <a:pt x="272" y="123"/>
                  <a:pt x="236" y="154"/>
                  <a:pt x="236" y="154"/>
                </a:cubicBezTo>
                <a:cubicBezTo>
                  <a:pt x="236" y="154"/>
                  <a:pt x="200" y="184"/>
                  <a:pt x="173" y="213"/>
                </a:cubicBezTo>
                <a:cubicBezTo>
                  <a:pt x="215" y="333"/>
                  <a:pt x="215" y="333"/>
                  <a:pt x="215" y="333"/>
                </a:cubicBezTo>
                <a:cubicBezTo>
                  <a:pt x="189" y="365"/>
                  <a:pt x="168" y="399"/>
                  <a:pt x="150" y="436"/>
                </a:cubicBezTo>
                <a:cubicBezTo>
                  <a:pt x="31" y="459"/>
                  <a:pt x="31" y="459"/>
                  <a:pt x="31" y="459"/>
                </a:cubicBezTo>
                <a:cubicBezTo>
                  <a:pt x="19" y="497"/>
                  <a:pt x="11" y="543"/>
                  <a:pt x="11" y="543"/>
                </a:cubicBezTo>
                <a:cubicBezTo>
                  <a:pt x="11" y="543"/>
                  <a:pt x="3" y="590"/>
                  <a:pt x="0" y="630"/>
                </a:cubicBezTo>
                <a:cubicBezTo>
                  <a:pt x="100" y="689"/>
                  <a:pt x="100" y="689"/>
                  <a:pt x="100" y="689"/>
                </a:cubicBezTo>
                <a:cubicBezTo>
                  <a:pt x="102" y="734"/>
                  <a:pt x="110" y="777"/>
                  <a:pt x="124" y="819"/>
                </a:cubicBezTo>
                <a:cubicBezTo>
                  <a:pt x="50" y="909"/>
                  <a:pt x="50" y="909"/>
                  <a:pt x="50" y="909"/>
                </a:cubicBezTo>
                <a:cubicBezTo>
                  <a:pt x="65" y="946"/>
                  <a:pt x="89" y="987"/>
                  <a:pt x="89" y="987"/>
                </a:cubicBezTo>
                <a:cubicBezTo>
                  <a:pt x="89" y="987"/>
                  <a:pt x="113" y="1028"/>
                  <a:pt x="136" y="1060"/>
                </a:cubicBezTo>
                <a:cubicBezTo>
                  <a:pt x="260" y="1039"/>
                  <a:pt x="260" y="1039"/>
                  <a:pt x="260" y="1039"/>
                </a:cubicBezTo>
                <a:cubicBezTo>
                  <a:pt x="288" y="1066"/>
                  <a:pt x="319" y="1091"/>
                  <a:pt x="352" y="1112"/>
                </a:cubicBezTo>
                <a:cubicBezTo>
                  <a:pt x="354" y="1242"/>
                  <a:pt x="354" y="1242"/>
                  <a:pt x="354" y="1242"/>
                </a:cubicBezTo>
                <a:cubicBezTo>
                  <a:pt x="389" y="1260"/>
                  <a:pt x="434" y="1276"/>
                  <a:pt x="434" y="1276"/>
                </a:cubicBezTo>
                <a:cubicBezTo>
                  <a:pt x="434" y="1276"/>
                  <a:pt x="478" y="1293"/>
                  <a:pt x="517" y="1302"/>
                </a:cubicBezTo>
                <a:cubicBezTo>
                  <a:pt x="606" y="1197"/>
                  <a:pt x="606" y="1197"/>
                  <a:pt x="606" y="1197"/>
                </a:cubicBezTo>
                <a:cubicBezTo>
                  <a:pt x="624" y="1199"/>
                  <a:pt x="641" y="1200"/>
                  <a:pt x="659" y="1200"/>
                </a:cubicBezTo>
                <a:cubicBezTo>
                  <a:pt x="677" y="1200"/>
                  <a:pt x="694" y="1199"/>
                  <a:pt x="711" y="1198"/>
                </a:cubicBezTo>
                <a:cubicBezTo>
                  <a:pt x="801" y="1302"/>
                  <a:pt x="801" y="1302"/>
                  <a:pt x="801" y="1302"/>
                </a:cubicBezTo>
                <a:cubicBezTo>
                  <a:pt x="839" y="1293"/>
                  <a:pt x="884" y="1277"/>
                  <a:pt x="884" y="1277"/>
                </a:cubicBezTo>
                <a:cubicBezTo>
                  <a:pt x="884" y="1277"/>
                  <a:pt x="928" y="1260"/>
                  <a:pt x="964" y="1242"/>
                </a:cubicBezTo>
                <a:cubicBezTo>
                  <a:pt x="965" y="1112"/>
                  <a:pt x="965" y="1112"/>
                  <a:pt x="965" y="1112"/>
                </a:cubicBezTo>
                <a:cubicBezTo>
                  <a:pt x="999" y="1091"/>
                  <a:pt x="1030" y="1067"/>
                  <a:pt x="1058" y="1040"/>
                </a:cubicBezTo>
                <a:cubicBezTo>
                  <a:pt x="1181" y="1060"/>
                  <a:pt x="1181" y="1060"/>
                  <a:pt x="1181" y="1060"/>
                </a:cubicBezTo>
                <a:cubicBezTo>
                  <a:pt x="1205" y="1028"/>
                  <a:pt x="1229" y="987"/>
                  <a:pt x="1229" y="987"/>
                </a:cubicBezTo>
                <a:cubicBezTo>
                  <a:pt x="1229" y="987"/>
                  <a:pt x="1252" y="946"/>
                  <a:pt x="1268" y="910"/>
                </a:cubicBezTo>
                <a:cubicBezTo>
                  <a:pt x="1195" y="820"/>
                  <a:pt x="1195" y="820"/>
                  <a:pt x="1195" y="820"/>
                </a:cubicBezTo>
                <a:cubicBezTo>
                  <a:pt x="1208" y="778"/>
                  <a:pt x="1216" y="734"/>
                  <a:pt x="1219" y="689"/>
                </a:cubicBezTo>
                <a:close/>
                <a:moveTo>
                  <a:pt x="659" y="1064"/>
                </a:moveTo>
                <a:cubicBezTo>
                  <a:pt x="437" y="1064"/>
                  <a:pt x="256" y="884"/>
                  <a:pt x="256" y="661"/>
                </a:cubicBezTo>
                <a:cubicBezTo>
                  <a:pt x="256" y="438"/>
                  <a:pt x="437" y="257"/>
                  <a:pt x="659" y="257"/>
                </a:cubicBezTo>
                <a:cubicBezTo>
                  <a:pt x="882" y="257"/>
                  <a:pt x="1063" y="438"/>
                  <a:pt x="1063" y="661"/>
                </a:cubicBezTo>
                <a:cubicBezTo>
                  <a:pt x="1063" y="884"/>
                  <a:pt x="882" y="1064"/>
                  <a:pt x="659" y="1064"/>
                </a:cubicBezTo>
                <a:close/>
              </a:path>
            </a:pathLst>
          </a:custGeom>
          <a:solidFill>
            <a:srgbClr val="C8C8C8"/>
          </a:solidFill>
          <a:ln>
            <a:noFill/>
          </a:ln>
        </p:spPr>
        <p:txBody>
          <a:bodyPr vert="horz" wrap="square" lIns="65837" tIns="32918" rIns="65837" bIns="32918" numCol="1" anchor="t" anchorCtr="0" compatLnSpc="1">
            <a:prstTxWarp prst="textNoShape">
              <a:avLst/>
            </a:prstTxWarp>
          </a:bodyPr>
          <a:lstStyle/>
          <a:p>
            <a:endParaRPr lang="en-US">
              <a:solidFill>
                <a:srgbClr val="575757"/>
              </a:solidFill>
            </a:endParaRPr>
          </a:p>
        </p:txBody>
      </p:sp>
      <p:pic>
        <p:nvPicPr>
          <p:cNvPr id="165893" name="Picture 5" descr="Pearson logo">
            <a:extLst>
              <a:ext uri="{FF2B5EF4-FFF2-40B4-BE49-F238E27FC236}">
                <a16:creationId xmlns:a16="http://schemas.microsoft.com/office/drawing/2014/main" id="{5FEF19C6-6656-49F3-9418-BD57170BCCC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249071" y="2220639"/>
            <a:ext cx="1210108" cy="828924"/>
          </a:xfrm>
          <a:prstGeom prst="rect">
            <a:avLst/>
          </a:prstGeom>
          <a:noFill/>
          <a:extLst>
            <a:ext uri="{909E8E84-426E-40DD-AFC4-6F175D3DCCD1}">
              <a14:hiddenFill xmlns:a14="http://schemas.microsoft.com/office/drawing/2010/main">
                <a:solidFill>
                  <a:srgbClr val="FFFFFF"/>
                </a:solidFill>
              </a14:hiddenFill>
            </a:ext>
          </a:extLst>
        </p:spPr>
      </p:pic>
      <p:sp>
        <p:nvSpPr>
          <p:cNvPr id="36" name="Title 1">
            <a:extLst>
              <a:ext uri="{FF2B5EF4-FFF2-40B4-BE49-F238E27FC236}">
                <a16:creationId xmlns:a16="http://schemas.microsoft.com/office/drawing/2014/main" id="{557A0565-C1BB-487C-A41D-C5ED76F2B716}"/>
              </a:ext>
            </a:extLst>
          </p:cNvPr>
          <p:cNvSpPr txBox="1">
            <a:spLocks/>
          </p:cNvSpPr>
          <p:nvPr/>
        </p:nvSpPr>
        <p:spPr>
          <a:xfrm>
            <a:off x="-21006" y="-1479"/>
            <a:ext cx="12213006" cy="982397"/>
          </a:xfrm>
          <a:prstGeom prst="rect">
            <a:avLst/>
          </a:prstGeom>
          <a:solidFill>
            <a:srgbClr val="00A4E1"/>
          </a:solidFill>
        </p:spPr>
        <p:txBody>
          <a:bodyPr anchor="ct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a:lstStyle>
          <a:p>
            <a:pPr marL="342900">
              <a:lnSpc>
                <a:spcPct val="100000"/>
              </a:lnSpc>
            </a:pPr>
            <a:r>
              <a:rPr lang="en-US" b="1">
                <a:solidFill>
                  <a:schemeClr val="bg1"/>
                </a:solidFill>
              </a:rPr>
              <a:t>Collaboration and combined expertise among partners enables high quality, credibility, and a path to scale</a:t>
            </a:r>
            <a:endParaRPr lang="en-US" sz="2000" b="1">
              <a:solidFill>
                <a:schemeClr val="bg1"/>
              </a:solidFill>
            </a:endParaRPr>
          </a:p>
        </p:txBody>
      </p:sp>
      <p:pic>
        <p:nvPicPr>
          <p:cNvPr id="38" name="Picture 4">
            <a:extLst>
              <a:ext uri="{FF2B5EF4-FFF2-40B4-BE49-F238E27FC236}">
                <a16:creationId xmlns:a16="http://schemas.microsoft.com/office/drawing/2014/main" id="{C377C64E-797E-4A94-BBB8-797470A9F30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668598" y="2123627"/>
            <a:ext cx="731520" cy="73152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436632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70C8FB-DACF-4E43-985B-250D9170C7DF}"/>
              </a:ext>
            </a:extLst>
          </p:cNvPr>
          <p:cNvSpPr>
            <a:spLocks noGrp="1"/>
          </p:cNvSpPr>
          <p:nvPr>
            <p:ph type="title"/>
          </p:nvPr>
        </p:nvSpPr>
        <p:spPr>
          <a:xfrm>
            <a:off x="0" y="15327"/>
            <a:ext cx="12192000" cy="919145"/>
          </a:xfrm>
          <a:solidFill>
            <a:srgbClr val="00A4E1"/>
          </a:solidFill>
        </p:spPr>
        <p:txBody>
          <a:bodyPr anchor="ctr">
            <a:noAutofit/>
          </a:bodyPr>
          <a:lstStyle/>
          <a:p>
            <a:pPr marL="342900">
              <a:lnSpc>
                <a:spcPct val="100000"/>
              </a:lnSpc>
            </a:pPr>
            <a:r>
              <a:rPr lang="en-US" b="1">
                <a:solidFill>
                  <a:schemeClr val="bg1"/>
                </a:solidFill>
              </a:rPr>
              <a:t>Learning Passport in Kosovo – Deep Dive</a:t>
            </a:r>
          </a:p>
        </p:txBody>
      </p:sp>
      <p:graphicFrame>
        <p:nvGraphicFramePr>
          <p:cNvPr id="3" name="Diagram 2">
            <a:extLst>
              <a:ext uri="{FF2B5EF4-FFF2-40B4-BE49-F238E27FC236}">
                <a16:creationId xmlns:a16="http://schemas.microsoft.com/office/drawing/2014/main" id="{5F7CE531-6AE3-4F53-9DFA-821BF603E2EA}"/>
              </a:ext>
            </a:extLst>
          </p:cNvPr>
          <p:cNvGraphicFramePr/>
          <p:nvPr>
            <p:extLst>
              <p:ext uri="{D42A27DB-BD31-4B8C-83A1-F6EECF244321}">
                <p14:modId xmlns:p14="http://schemas.microsoft.com/office/powerpoint/2010/main" val="2333837607"/>
              </p:ext>
            </p:extLst>
          </p:nvPr>
        </p:nvGraphicFramePr>
        <p:xfrm>
          <a:off x="800135" y="1828653"/>
          <a:ext cx="10933351" cy="50140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02082" name="Picture 2" descr="Free icon - Free vector icons - Free SVG, PSD, PNG, EPS, Ai &amp; Icon Font">
            <a:extLst>
              <a:ext uri="{FF2B5EF4-FFF2-40B4-BE49-F238E27FC236}">
                <a16:creationId xmlns:a16="http://schemas.microsoft.com/office/drawing/2014/main" id="{20C0E21F-B394-41C4-96AB-42BFE061C0E6}"/>
              </a:ext>
            </a:extLst>
          </p:cNvPr>
          <p:cNvPicPr>
            <a:picLocks noChangeAspect="1" noChangeArrowheads="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311164" y="2744951"/>
            <a:ext cx="1495097" cy="1495097"/>
          </a:xfrm>
          <a:prstGeom prst="rect">
            <a:avLst/>
          </a:prstGeom>
          <a:noFill/>
          <a:extLst>
            <a:ext uri="{909E8E84-426E-40DD-AFC4-6F175D3DCCD1}">
              <a14:hiddenFill xmlns:a14="http://schemas.microsoft.com/office/drawing/2010/main">
                <a:solidFill>
                  <a:srgbClr val="FFFFFF"/>
                </a:solidFill>
              </a14:hiddenFill>
            </a:ext>
          </a:extLst>
        </p:spPr>
      </p:pic>
      <p:pic>
        <p:nvPicPr>
          <p:cNvPr id="302084" name="Picture 4" descr="Items, shopping, cart icon - Download on Iconfinder">
            <a:extLst>
              <a:ext uri="{FF2B5EF4-FFF2-40B4-BE49-F238E27FC236}">
                <a16:creationId xmlns:a16="http://schemas.microsoft.com/office/drawing/2014/main" id="{BC68DD0E-94EB-4A72-A091-E238AE0D97F6}"/>
              </a:ext>
            </a:extLst>
          </p:cNvPr>
          <p:cNvPicPr>
            <a:picLocks noChangeAspect="1" noChangeArrowheads="1"/>
          </p:cNvPicPr>
          <p:nvPr/>
        </p:nvPicPr>
        <p:blipFill rotWithShape="1">
          <a:blip r:embed="rId9">
            <a:duotone>
              <a:schemeClr val="accent4">
                <a:shade val="45000"/>
                <a:satMod val="135000"/>
              </a:schemeClr>
              <a:prstClr val="white"/>
            </a:duotone>
            <a:extLst>
              <a:ext uri="{BEBA8EAE-BF5A-486C-A8C5-ECC9F3942E4B}">
                <a14:imgProps xmlns:a14="http://schemas.microsoft.com/office/drawing/2010/main">
                  <a14:imgLayer r:embed="rId10">
                    <a14:imgEffect>
                      <a14:colorTemperature colorTemp="8800"/>
                    </a14:imgEffect>
                    <a14:imgEffect>
                      <a14:saturation sat="400000"/>
                    </a14:imgEffect>
                  </a14:imgLayer>
                </a14:imgProps>
              </a:ext>
              <a:ext uri="{28A0092B-C50C-407E-A947-70E740481C1C}">
                <a14:useLocalDpi xmlns:a14="http://schemas.microsoft.com/office/drawing/2010/main" val="0"/>
              </a:ext>
            </a:extLst>
          </a:blip>
          <a:srcRect l="18365" t="18365" r="9260" b="13343"/>
          <a:stretch/>
        </p:blipFill>
        <p:spPr bwMode="auto">
          <a:xfrm>
            <a:off x="4285592" y="2069148"/>
            <a:ext cx="1325499" cy="1250731"/>
          </a:xfrm>
          <a:prstGeom prst="rect">
            <a:avLst/>
          </a:prstGeom>
          <a:noFill/>
          <a:extLst>
            <a:ext uri="{909E8E84-426E-40DD-AFC4-6F175D3DCCD1}">
              <a14:hiddenFill xmlns:a14="http://schemas.microsoft.com/office/drawing/2010/main">
                <a:solidFill>
                  <a:srgbClr val="FFFFFF"/>
                </a:solidFill>
              </a14:hiddenFill>
            </a:ext>
          </a:extLst>
        </p:spPr>
      </p:pic>
      <p:pic>
        <p:nvPicPr>
          <p:cNvPr id="302086" name="Picture 6" descr="Accept, comfirm, id, login, person, user icon - Download on Iconfinder">
            <a:extLst>
              <a:ext uri="{FF2B5EF4-FFF2-40B4-BE49-F238E27FC236}">
                <a16:creationId xmlns:a16="http://schemas.microsoft.com/office/drawing/2014/main" id="{AC6120BB-4568-49FB-A999-AFCEBA506527}"/>
              </a:ext>
            </a:extLst>
          </p:cNvPr>
          <p:cNvPicPr>
            <a:picLocks noChangeAspect="1" noChangeArrowheads="1"/>
          </p:cNvPicPr>
          <p:nvPr/>
        </p:nvPicPr>
        <p:blipFill>
          <a:blip r:embed="rId11">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10401" y="1494222"/>
            <a:ext cx="1250730" cy="1250730"/>
          </a:xfrm>
          <a:prstGeom prst="rect">
            <a:avLst/>
          </a:prstGeom>
          <a:noFill/>
          <a:extLst>
            <a:ext uri="{909E8E84-426E-40DD-AFC4-6F175D3DCCD1}">
              <a14:hiddenFill xmlns:a14="http://schemas.microsoft.com/office/drawing/2010/main">
                <a:solidFill>
                  <a:srgbClr val="FFFFFF"/>
                </a:solidFill>
              </a14:hiddenFill>
            </a:ext>
          </a:extLst>
        </p:spPr>
      </p:pic>
      <p:pic>
        <p:nvPicPr>
          <p:cNvPr id="302088" name="Picture 8" descr="E-learning Line Icon. Online Internet Education Symbol. Graduation..  Royalty Free Cliparts, Vectors, And Stock Illustration. Image 110198629.">
            <a:extLst>
              <a:ext uri="{FF2B5EF4-FFF2-40B4-BE49-F238E27FC236}">
                <a16:creationId xmlns:a16="http://schemas.microsoft.com/office/drawing/2014/main" id="{48EB0845-9D45-41EC-94FB-4B0569A3CB49}"/>
              </a:ext>
            </a:extLst>
          </p:cNvPr>
          <p:cNvPicPr>
            <a:picLocks noChangeAspect="1" noChangeArrowheads="1"/>
          </p:cNvPicPr>
          <p:nvPr/>
        </p:nvPicPr>
        <p:blipFill rotWithShape="1">
          <a:blip r:embed="rId12">
            <a:duotone>
              <a:schemeClr val="accent4">
                <a:shade val="45000"/>
                <a:satMod val="135000"/>
              </a:schemeClr>
              <a:prstClr val="white"/>
            </a:duotone>
            <a:extLst>
              <a:ext uri="{BEBA8EAE-BF5A-486C-A8C5-ECC9F3942E4B}">
                <a14:imgProps xmlns:a14="http://schemas.microsoft.com/office/drawing/2010/main">
                  <a14:imgLayer r:embed="rId13">
                    <a14:imgEffect>
                      <a14:brightnessContrast contrast="20000"/>
                    </a14:imgEffect>
                  </a14:imgLayer>
                </a14:imgProps>
              </a:ext>
              <a:ext uri="{28A0092B-C50C-407E-A947-70E740481C1C}">
                <a14:useLocalDpi xmlns:a14="http://schemas.microsoft.com/office/drawing/2010/main" val="0"/>
              </a:ext>
            </a:extLst>
          </a:blip>
          <a:srcRect l="25135" t="27828" r="22442" b="25493"/>
          <a:stretch/>
        </p:blipFill>
        <p:spPr bwMode="auto">
          <a:xfrm>
            <a:off x="9953297" y="934473"/>
            <a:ext cx="1345324" cy="11978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2112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B17052-71FA-4339-BFDC-058187BB1BF1}"/>
              </a:ext>
            </a:extLst>
          </p:cNvPr>
          <p:cNvPicPr>
            <a:picLocks noChangeAspect="1"/>
          </p:cNvPicPr>
          <p:nvPr/>
        </p:nvPicPr>
        <p:blipFill rotWithShape="1">
          <a:blip r:embed="rId7"/>
          <a:srcRect b="50937"/>
          <a:stretch/>
        </p:blipFill>
        <p:spPr>
          <a:xfrm>
            <a:off x="-84173" y="3633524"/>
            <a:ext cx="3779848" cy="3224476"/>
          </a:xfrm>
          <a:prstGeom prst="rect">
            <a:avLst/>
          </a:prstGeom>
        </p:spPr>
      </p:pic>
      <p:graphicFrame>
        <p:nvGraphicFramePr>
          <p:cNvPr id="78" name="Object 7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11" name="think-cell Slide" r:id="rId8" imgW="327" imgH="327" progId="TCLayout.ActiveDocument.1">
                  <p:embed/>
                </p:oleObj>
              </mc:Choice>
              <mc:Fallback>
                <p:oleObj name="think-cell Slide" r:id="rId8" imgW="327" imgH="327" progId="TCLayout.ActiveDocument.1">
                  <p:embed/>
                  <p:pic>
                    <p:nvPicPr>
                      <p:cNvPr id="78" name="Object 77"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4" name="Rectangle 10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Arial" panose="020B0604020202020204" pitchFamily="34" charset="0"/>
              <a:ea typeface="+mj-ea"/>
              <a:cs typeface="+mj-cs"/>
              <a:sym typeface="Arial" panose="020B0604020202020204" pitchFamily="34" charset="0"/>
            </a:endParaRPr>
          </a:p>
        </p:txBody>
      </p:sp>
      <p:sp>
        <p:nvSpPr>
          <p:cNvPr id="97" name="Title 1"/>
          <p:cNvSpPr>
            <a:spLocks noGrp="1"/>
          </p:cNvSpPr>
          <p:nvPr>
            <p:ph type="title"/>
          </p:nvPr>
        </p:nvSpPr>
        <p:spPr>
          <a:xfrm>
            <a:off x="657459" y="415502"/>
            <a:ext cx="10933350" cy="738664"/>
          </a:xfrm>
        </p:spPr>
        <p:txBody>
          <a:bodyPr/>
          <a:lstStyle/>
          <a:p>
            <a:pPr>
              <a:lnSpc>
                <a:spcPct val="100000"/>
              </a:lnSpc>
            </a:pPr>
            <a:r>
              <a:rPr lang="en-US"/>
              <a:t>Designed to close the learning poverty gap, the Learning Passport is an online, mobile, and offline tech platform enabling high quality, flexible learning </a:t>
            </a:r>
          </a:p>
        </p:txBody>
      </p:sp>
      <p:grpSp>
        <p:nvGrpSpPr>
          <p:cNvPr id="13" name="Group 12"/>
          <p:cNvGrpSpPr>
            <a:grpSpLocks/>
          </p:cNvGrpSpPr>
          <p:nvPr/>
        </p:nvGrpSpPr>
        <p:grpSpPr>
          <a:xfrm>
            <a:off x="657459" y="2033872"/>
            <a:ext cx="575274" cy="392233"/>
            <a:chOff x="3280500" y="4141415"/>
            <a:chExt cx="798992" cy="544768"/>
          </a:xfrm>
        </p:grpSpPr>
        <p:sp>
          <p:nvSpPr>
            <p:cNvPr id="113" name="Freeform 10">
              <a:extLst>
                <a:ext uri="{FF2B5EF4-FFF2-40B4-BE49-F238E27FC236}">
                  <a16:creationId xmlns:a16="http://schemas.microsoft.com/office/drawing/2014/main" id="{09EB9A3E-44DE-4265-9381-7633BFD4FFA0}"/>
                </a:ext>
              </a:extLst>
            </p:cNvPr>
            <p:cNvSpPr>
              <a:spLocks noEditPoints="1"/>
            </p:cNvSpPr>
            <p:nvPr/>
          </p:nvSpPr>
          <p:spPr bwMode="auto">
            <a:xfrm>
              <a:off x="3326301" y="4141415"/>
              <a:ext cx="707390" cy="499371"/>
            </a:xfrm>
            <a:custGeom>
              <a:avLst/>
              <a:gdLst>
                <a:gd name="T0" fmla="*/ 207 w 1872"/>
                <a:gd name="T1" fmla="*/ 339 h 1320"/>
                <a:gd name="T2" fmla="*/ 207 w 1872"/>
                <a:gd name="T3" fmla="*/ 295 h 1320"/>
                <a:gd name="T4" fmla="*/ 772 w 1872"/>
                <a:gd name="T5" fmla="*/ 317 h 1320"/>
                <a:gd name="T6" fmla="*/ 772 w 1872"/>
                <a:gd name="T7" fmla="*/ 422 h 1320"/>
                <a:gd name="T8" fmla="*/ 207 w 1872"/>
                <a:gd name="T9" fmla="*/ 400 h 1320"/>
                <a:gd name="T10" fmla="*/ 207 w 1872"/>
                <a:gd name="T11" fmla="*/ 444 h 1320"/>
                <a:gd name="T12" fmla="*/ 772 w 1872"/>
                <a:gd name="T13" fmla="*/ 422 h 1320"/>
                <a:gd name="T14" fmla="*/ 750 w 1872"/>
                <a:gd name="T15" fmla="*/ 506 h 1320"/>
                <a:gd name="T16" fmla="*/ 185 w 1872"/>
                <a:gd name="T17" fmla="*/ 528 h 1320"/>
                <a:gd name="T18" fmla="*/ 750 w 1872"/>
                <a:gd name="T19" fmla="*/ 550 h 1320"/>
                <a:gd name="T20" fmla="*/ 772 w 1872"/>
                <a:gd name="T21" fmla="*/ 633 h 1320"/>
                <a:gd name="T22" fmla="*/ 207 w 1872"/>
                <a:gd name="T23" fmla="*/ 611 h 1320"/>
                <a:gd name="T24" fmla="*/ 207 w 1872"/>
                <a:gd name="T25" fmla="*/ 655 h 1320"/>
                <a:gd name="T26" fmla="*/ 772 w 1872"/>
                <a:gd name="T27" fmla="*/ 633 h 1320"/>
                <a:gd name="T28" fmla="*/ 750 w 1872"/>
                <a:gd name="T29" fmla="*/ 717 h 1320"/>
                <a:gd name="T30" fmla="*/ 185 w 1872"/>
                <a:gd name="T31" fmla="*/ 739 h 1320"/>
                <a:gd name="T32" fmla="*/ 750 w 1872"/>
                <a:gd name="T33" fmla="*/ 761 h 1320"/>
                <a:gd name="T34" fmla="*/ 772 w 1872"/>
                <a:gd name="T35" fmla="*/ 844 h 1320"/>
                <a:gd name="T36" fmla="*/ 207 w 1872"/>
                <a:gd name="T37" fmla="*/ 822 h 1320"/>
                <a:gd name="T38" fmla="*/ 207 w 1872"/>
                <a:gd name="T39" fmla="*/ 866 h 1320"/>
                <a:gd name="T40" fmla="*/ 772 w 1872"/>
                <a:gd name="T41" fmla="*/ 844 h 1320"/>
                <a:gd name="T42" fmla="*/ 750 w 1872"/>
                <a:gd name="T43" fmla="*/ 928 h 1320"/>
                <a:gd name="T44" fmla="*/ 185 w 1872"/>
                <a:gd name="T45" fmla="*/ 950 h 1320"/>
                <a:gd name="T46" fmla="*/ 750 w 1872"/>
                <a:gd name="T47" fmla="*/ 972 h 1320"/>
                <a:gd name="T48" fmla="*/ 772 w 1872"/>
                <a:gd name="T49" fmla="*/ 1055 h 1320"/>
                <a:gd name="T50" fmla="*/ 207 w 1872"/>
                <a:gd name="T51" fmla="*/ 1033 h 1320"/>
                <a:gd name="T52" fmla="*/ 207 w 1872"/>
                <a:gd name="T53" fmla="*/ 1077 h 1320"/>
                <a:gd name="T54" fmla="*/ 772 w 1872"/>
                <a:gd name="T55" fmla="*/ 1055 h 1320"/>
                <a:gd name="T56" fmla="*/ 1665 w 1872"/>
                <a:gd name="T57" fmla="*/ 717 h 1320"/>
                <a:gd name="T58" fmla="*/ 1100 w 1872"/>
                <a:gd name="T59" fmla="*/ 739 h 1320"/>
                <a:gd name="T60" fmla="*/ 1665 w 1872"/>
                <a:gd name="T61" fmla="*/ 761 h 1320"/>
                <a:gd name="T62" fmla="*/ 1687 w 1872"/>
                <a:gd name="T63" fmla="*/ 844 h 1320"/>
                <a:gd name="T64" fmla="*/ 1122 w 1872"/>
                <a:gd name="T65" fmla="*/ 822 h 1320"/>
                <a:gd name="T66" fmla="*/ 1122 w 1872"/>
                <a:gd name="T67" fmla="*/ 866 h 1320"/>
                <a:gd name="T68" fmla="*/ 1687 w 1872"/>
                <a:gd name="T69" fmla="*/ 844 h 1320"/>
                <a:gd name="T70" fmla="*/ 1665 w 1872"/>
                <a:gd name="T71" fmla="*/ 928 h 1320"/>
                <a:gd name="T72" fmla="*/ 1100 w 1872"/>
                <a:gd name="T73" fmla="*/ 950 h 1320"/>
                <a:gd name="T74" fmla="*/ 1665 w 1872"/>
                <a:gd name="T75" fmla="*/ 972 h 1320"/>
                <a:gd name="T76" fmla="*/ 1687 w 1872"/>
                <a:gd name="T77" fmla="*/ 1055 h 1320"/>
                <a:gd name="T78" fmla="*/ 1122 w 1872"/>
                <a:gd name="T79" fmla="*/ 1033 h 1320"/>
                <a:gd name="T80" fmla="*/ 1122 w 1872"/>
                <a:gd name="T81" fmla="*/ 1077 h 1320"/>
                <a:gd name="T82" fmla="*/ 1687 w 1872"/>
                <a:gd name="T83" fmla="*/ 1055 h 1320"/>
                <a:gd name="T84" fmla="*/ 1872 w 1872"/>
                <a:gd name="T85" fmla="*/ 1298 h 1320"/>
                <a:gd name="T86" fmla="*/ 936 w 1872"/>
                <a:gd name="T87" fmla="*/ 1320 h 1320"/>
                <a:gd name="T88" fmla="*/ 0 w 1872"/>
                <a:gd name="T89" fmla="*/ 1298 h 1320"/>
                <a:gd name="T90" fmla="*/ 22 w 1872"/>
                <a:gd name="T91" fmla="*/ 0 h 1320"/>
                <a:gd name="T92" fmla="*/ 1211 w 1872"/>
                <a:gd name="T93" fmla="*/ 0 h 1320"/>
                <a:gd name="T94" fmla="*/ 958 w 1872"/>
                <a:gd name="T95" fmla="*/ 44 h 1320"/>
                <a:gd name="T96" fmla="*/ 1828 w 1872"/>
                <a:gd name="T97" fmla="*/ 1276 h 1320"/>
                <a:gd name="T98" fmla="*/ 1608 w 1872"/>
                <a:gd name="T99" fmla="*/ 44 h 1320"/>
                <a:gd name="T100" fmla="*/ 1850 w 1872"/>
                <a:gd name="T101" fmla="*/ 0 h 1320"/>
                <a:gd name="T102" fmla="*/ 44 w 1872"/>
                <a:gd name="T103" fmla="*/ 1276 h 1320"/>
                <a:gd name="T104" fmla="*/ 914 w 1872"/>
                <a:gd name="T105" fmla="*/ 44 h 1320"/>
                <a:gd name="T106" fmla="*/ 44 w 1872"/>
                <a:gd name="T107" fmla="*/ 1276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72" h="1320">
                  <a:moveTo>
                    <a:pt x="750" y="339"/>
                  </a:moveTo>
                  <a:cubicBezTo>
                    <a:pt x="207" y="339"/>
                    <a:pt x="207" y="339"/>
                    <a:pt x="207" y="339"/>
                  </a:cubicBezTo>
                  <a:cubicBezTo>
                    <a:pt x="195" y="339"/>
                    <a:pt x="185" y="329"/>
                    <a:pt x="185" y="317"/>
                  </a:cubicBezTo>
                  <a:cubicBezTo>
                    <a:pt x="185" y="305"/>
                    <a:pt x="195" y="295"/>
                    <a:pt x="207" y="295"/>
                  </a:cubicBezTo>
                  <a:cubicBezTo>
                    <a:pt x="750" y="295"/>
                    <a:pt x="750" y="295"/>
                    <a:pt x="750" y="295"/>
                  </a:cubicBezTo>
                  <a:cubicBezTo>
                    <a:pt x="762" y="295"/>
                    <a:pt x="772" y="305"/>
                    <a:pt x="772" y="317"/>
                  </a:cubicBezTo>
                  <a:cubicBezTo>
                    <a:pt x="772" y="329"/>
                    <a:pt x="762" y="339"/>
                    <a:pt x="750" y="339"/>
                  </a:cubicBezTo>
                  <a:close/>
                  <a:moveTo>
                    <a:pt x="772" y="422"/>
                  </a:moveTo>
                  <a:cubicBezTo>
                    <a:pt x="772" y="410"/>
                    <a:pt x="762" y="400"/>
                    <a:pt x="750" y="400"/>
                  </a:cubicBezTo>
                  <a:cubicBezTo>
                    <a:pt x="207" y="400"/>
                    <a:pt x="207" y="400"/>
                    <a:pt x="207" y="400"/>
                  </a:cubicBezTo>
                  <a:cubicBezTo>
                    <a:pt x="195" y="400"/>
                    <a:pt x="185" y="410"/>
                    <a:pt x="185" y="422"/>
                  </a:cubicBezTo>
                  <a:cubicBezTo>
                    <a:pt x="185" y="434"/>
                    <a:pt x="195" y="444"/>
                    <a:pt x="207" y="444"/>
                  </a:cubicBezTo>
                  <a:cubicBezTo>
                    <a:pt x="750" y="444"/>
                    <a:pt x="750" y="444"/>
                    <a:pt x="750" y="444"/>
                  </a:cubicBezTo>
                  <a:cubicBezTo>
                    <a:pt x="762" y="444"/>
                    <a:pt x="772" y="434"/>
                    <a:pt x="772" y="422"/>
                  </a:cubicBezTo>
                  <a:close/>
                  <a:moveTo>
                    <a:pt x="772" y="528"/>
                  </a:moveTo>
                  <a:cubicBezTo>
                    <a:pt x="772" y="516"/>
                    <a:pt x="762" y="506"/>
                    <a:pt x="750" y="506"/>
                  </a:cubicBezTo>
                  <a:cubicBezTo>
                    <a:pt x="207" y="506"/>
                    <a:pt x="207" y="506"/>
                    <a:pt x="207" y="506"/>
                  </a:cubicBezTo>
                  <a:cubicBezTo>
                    <a:pt x="195" y="506"/>
                    <a:pt x="185" y="516"/>
                    <a:pt x="185" y="528"/>
                  </a:cubicBezTo>
                  <a:cubicBezTo>
                    <a:pt x="185" y="540"/>
                    <a:pt x="195" y="550"/>
                    <a:pt x="207" y="550"/>
                  </a:cubicBezTo>
                  <a:cubicBezTo>
                    <a:pt x="750" y="550"/>
                    <a:pt x="750" y="550"/>
                    <a:pt x="750" y="550"/>
                  </a:cubicBezTo>
                  <a:cubicBezTo>
                    <a:pt x="762" y="550"/>
                    <a:pt x="772" y="540"/>
                    <a:pt x="772" y="528"/>
                  </a:cubicBezTo>
                  <a:close/>
                  <a:moveTo>
                    <a:pt x="772" y="633"/>
                  </a:moveTo>
                  <a:cubicBezTo>
                    <a:pt x="772" y="621"/>
                    <a:pt x="762" y="611"/>
                    <a:pt x="750" y="611"/>
                  </a:cubicBezTo>
                  <a:cubicBezTo>
                    <a:pt x="207" y="611"/>
                    <a:pt x="207" y="611"/>
                    <a:pt x="207" y="611"/>
                  </a:cubicBezTo>
                  <a:cubicBezTo>
                    <a:pt x="195" y="611"/>
                    <a:pt x="185" y="621"/>
                    <a:pt x="185" y="633"/>
                  </a:cubicBezTo>
                  <a:cubicBezTo>
                    <a:pt x="185" y="645"/>
                    <a:pt x="195" y="655"/>
                    <a:pt x="207" y="655"/>
                  </a:cubicBezTo>
                  <a:cubicBezTo>
                    <a:pt x="750" y="655"/>
                    <a:pt x="750" y="655"/>
                    <a:pt x="750" y="655"/>
                  </a:cubicBezTo>
                  <a:cubicBezTo>
                    <a:pt x="762" y="655"/>
                    <a:pt x="772" y="645"/>
                    <a:pt x="772" y="633"/>
                  </a:cubicBezTo>
                  <a:close/>
                  <a:moveTo>
                    <a:pt x="772" y="739"/>
                  </a:moveTo>
                  <a:cubicBezTo>
                    <a:pt x="772" y="727"/>
                    <a:pt x="762" y="717"/>
                    <a:pt x="750" y="717"/>
                  </a:cubicBezTo>
                  <a:cubicBezTo>
                    <a:pt x="207" y="717"/>
                    <a:pt x="207" y="717"/>
                    <a:pt x="207" y="717"/>
                  </a:cubicBezTo>
                  <a:cubicBezTo>
                    <a:pt x="195" y="717"/>
                    <a:pt x="185" y="727"/>
                    <a:pt x="185" y="739"/>
                  </a:cubicBezTo>
                  <a:cubicBezTo>
                    <a:pt x="185" y="751"/>
                    <a:pt x="195" y="761"/>
                    <a:pt x="207" y="761"/>
                  </a:cubicBezTo>
                  <a:cubicBezTo>
                    <a:pt x="750" y="761"/>
                    <a:pt x="750" y="761"/>
                    <a:pt x="750" y="761"/>
                  </a:cubicBezTo>
                  <a:cubicBezTo>
                    <a:pt x="762" y="761"/>
                    <a:pt x="772" y="751"/>
                    <a:pt x="772" y="739"/>
                  </a:cubicBezTo>
                  <a:close/>
                  <a:moveTo>
                    <a:pt x="772" y="844"/>
                  </a:moveTo>
                  <a:cubicBezTo>
                    <a:pt x="772" y="832"/>
                    <a:pt x="762" y="822"/>
                    <a:pt x="750" y="822"/>
                  </a:cubicBezTo>
                  <a:cubicBezTo>
                    <a:pt x="207" y="822"/>
                    <a:pt x="207" y="822"/>
                    <a:pt x="207" y="822"/>
                  </a:cubicBezTo>
                  <a:cubicBezTo>
                    <a:pt x="195" y="822"/>
                    <a:pt x="185" y="832"/>
                    <a:pt x="185" y="844"/>
                  </a:cubicBezTo>
                  <a:cubicBezTo>
                    <a:pt x="185" y="856"/>
                    <a:pt x="195" y="866"/>
                    <a:pt x="207" y="866"/>
                  </a:cubicBezTo>
                  <a:cubicBezTo>
                    <a:pt x="750" y="866"/>
                    <a:pt x="750" y="866"/>
                    <a:pt x="750" y="866"/>
                  </a:cubicBezTo>
                  <a:cubicBezTo>
                    <a:pt x="762" y="866"/>
                    <a:pt x="772" y="856"/>
                    <a:pt x="772" y="844"/>
                  </a:cubicBezTo>
                  <a:close/>
                  <a:moveTo>
                    <a:pt x="772" y="950"/>
                  </a:moveTo>
                  <a:cubicBezTo>
                    <a:pt x="772" y="938"/>
                    <a:pt x="762" y="928"/>
                    <a:pt x="750" y="928"/>
                  </a:cubicBezTo>
                  <a:cubicBezTo>
                    <a:pt x="207" y="928"/>
                    <a:pt x="207" y="928"/>
                    <a:pt x="207" y="928"/>
                  </a:cubicBezTo>
                  <a:cubicBezTo>
                    <a:pt x="195" y="928"/>
                    <a:pt x="185" y="938"/>
                    <a:pt x="185" y="950"/>
                  </a:cubicBezTo>
                  <a:cubicBezTo>
                    <a:pt x="185" y="962"/>
                    <a:pt x="195" y="972"/>
                    <a:pt x="207" y="972"/>
                  </a:cubicBezTo>
                  <a:cubicBezTo>
                    <a:pt x="750" y="972"/>
                    <a:pt x="750" y="972"/>
                    <a:pt x="750" y="972"/>
                  </a:cubicBezTo>
                  <a:cubicBezTo>
                    <a:pt x="762" y="972"/>
                    <a:pt x="772" y="962"/>
                    <a:pt x="772" y="950"/>
                  </a:cubicBezTo>
                  <a:close/>
                  <a:moveTo>
                    <a:pt x="772" y="1055"/>
                  </a:moveTo>
                  <a:cubicBezTo>
                    <a:pt x="772" y="1043"/>
                    <a:pt x="762" y="1033"/>
                    <a:pt x="750" y="1033"/>
                  </a:cubicBezTo>
                  <a:cubicBezTo>
                    <a:pt x="207" y="1033"/>
                    <a:pt x="207" y="1033"/>
                    <a:pt x="207" y="1033"/>
                  </a:cubicBezTo>
                  <a:cubicBezTo>
                    <a:pt x="195" y="1033"/>
                    <a:pt x="185" y="1043"/>
                    <a:pt x="185" y="1055"/>
                  </a:cubicBezTo>
                  <a:cubicBezTo>
                    <a:pt x="185" y="1067"/>
                    <a:pt x="195" y="1077"/>
                    <a:pt x="207" y="1077"/>
                  </a:cubicBezTo>
                  <a:cubicBezTo>
                    <a:pt x="750" y="1077"/>
                    <a:pt x="750" y="1077"/>
                    <a:pt x="750" y="1077"/>
                  </a:cubicBezTo>
                  <a:cubicBezTo>
                    <a:pt x="762" y="1077"/>
                    <a:pt x="772" y="1067"/>
                    <a:pt x="772" y="1055"/>
                  </a:cubicBezTo>
                  <a:close/>
                  <a:moveTo>
                    <a:pt x="1687" y="739"/>
                  </a:moveTo>
                  <a:cubicBezTo>
                    <a:pt x="1687" y="727"/>
                    <a:pt x="1677" y="717"/>
                    <a:pt x="1665" y="717"/>
                  </a:cubicBezTo>
                  <a:cubicBezTo>
                    <a:pt x="1122" y="717"/>
                    <a:pt x="1122" y="717"/>
                    <a:pt x="1122" y="717"/>
                  </a:cubicBezTo>
                  <a:cubicBezTo>
                    <a:pt x="1110" y="717"/>
                    <a:pt x="1100" y="727"/>
                    <a:pt x="1100" y="739"/>
                  </a:cubicBezTo>
                  <a:cubicBezTo>
                    <a:pt x="1100" y="751"/>
                    <a:pt x="1110" y="761"/>
                    <a:pt x="1122" y="761"/>
                  </a:cubicBezTo>
                  <a:cubicBezTo>
                    <a:pt x="1665" y="761"/>
                    <a:pt x="1665" y="761"/>
                    <a:pt x="1665" y="761"/>
                  </a:cubicBezTo>
                  <a:cubicBezTo>
                    <a:pt x="1677" y="761"/>
                    <a:pt x="1687" y="751"/>
                    <a:pt x="1687" y="739"/>
                  </a:cubicBezTo>
                  <a:close/>
                  <a:moveTo>
                    <a:pt x="1687" y="844"/>
                  </a:moveTo>
                  <a:cubicBezTo>
                    <a:pt x="1687" y="832"/>
                    <a:pt x="1677" y="822"/>
                    <a:pt x="1665" y="822"/>
                  </a:cubicBezTo>
                  <a:cubicBezTo>
                    <a:pt x="1122" y="822"/>
                    <a:pt x="1122" y="822"/>
                    <a:pt x="1122" y="822"/>
                  </a:cubicBezTo>
                  <a:cubicBezTo>
                    <a:pt x="1110" y="822"/>
                    <a:pt x="1100" y="832"/>
                    <a:pt x="1100" y="844"/>
                  </a:cubicBezTo>
                  <a:cubicBezTo>
                    <a:pt x="1100" y="856"/>
                    <a:pt x="1110" y="866"/>
                    <a:pt x="1122" y="866"/>
                  </a:cubicBezTo>
                  <a:cubicBezTo>
                    <a:pt x="1665" y="866"/>
                    <a:pt x="1665" y="866"/>
                    <a:pt x="1665" y="866"/>
                  </a:cubicBezTo>
                  <a:cubicBezTo>
                    <a:pt x="1677" y="866"/>
                    <a:pt x="1687" y="856"/>
                    <a:pt x="1687" y="844"/>
                  </a:cubicBezTo>
                  <a:close/>
                  <a:moveTo>
                    <a:pt x="1687" y="950"/>
                  </a:moveTo>
                  <a:cubicBezTo>
                    <a:pt x="1687" y="938"/>
                    <a:pt x="1677" y="928"/>
                    <a:pt x="1665" y="928"/>
                  </a:cubicBezTo>
                  <a:cubicBezTo>
                    <a:pt x="1122" y="928"/>
                    <a:pt x="1122" y="928"/>
                    <a:pt x="1122" y="928"/>
                  </a:cubicBezTo>
                  <a:cubicBezTo>
                    <a:pt x="1110" y="928"/>
                    <a:pt x="1100" y="938"/>
                    <a:pt x="1100" y="950"/>
                  </a:cubicBezTo>
                  <a:cubicBezTo>
                    <a:pt x="1100" y="962"/>
                    <a:pt x="1110" y="972"/>
                    <a:pt x="1122" y="972"/>
                  </a:cubicBezTo>
                  <a:cubicBezTo>
                    <a:pt x="1665" y="972"/>
                    <a:pt x="1665" y="972"/>
                    <a:pt x="1665" y="972"/>
                  </a:cubicBezTo>
                  <a:cubicBezTo>
                    <a:pt x="1677" y="972"/>
                    <a:pt x="1687" y="962"/>
                    <a:pt x="1687" y="950"/>
                  </a:cubicBezTo>
                  <a:close/>
                  <a:moveTo>
                    <a:pt x="1687" y="1055"/>
                  </a:moveTo>
                  <a:cubicBezTo>
                    <a:pt x="1687" y="1043"/>
                    <a:pt x="1677" y="1033"/>
                    <a:pt x="1665" y="1033"/>
                  </a:cubicBezTo>
                  <a:cubicBezTo>
                    <a:pt x="1122" y="1033"/>
                    <a:pt x="1122" y="1033"/>
                    <a:pt x="1122" y="1033"/>
                  </a:cubicBezTo>
                  <a:cubicBezTo>
                    <a:pt x="1110" y="1033"/>
                    <a:pt x="1100" y="1043"/>
                    <a:pt x="1100" y="1055"/>
                  </a:cubicBezTo>
                  <a:cubicBezTo>
                    <a:pt x="1100" y="1067"/>
                    <a:pt x="1110" y="1077"/>
                    <a:pt x="1122" y="1077"/>
                  </a:cubicBezTo>
                  <a:cubicBezTo>
                    <a:pt x="1665" y="1077"/>
                    <a:pt x="1665" y="1077"/>
                    <a:pt x="1665" y="1077"/>
                  </a:cubicBezTo>
                  <a:cubicBezTo>
                    <a:pt x="1677" y="1077"/>
                    <a:pt x="1687" y="1067"/>
                    <a:pt x="1687" y="1055"/>
                  </a:cubicBezTo>
                  <a:close/>
                  <a:moveTo>
                    <a:pt x="1872" y="22"/>
                  </a:moveTo>
                  <a:cubicBezTo>
                    <a:pt x="1872" y="1298"/>
                    <a:pt x="1872" y="1298"/>
                    <a:pt x="1872" y="1298"/>
                  </a:cubicBezTo>
                  <a:cubicBezTo>
                    <a:pt x="1872" y="1310"/>
                    <a:pt x="1863" y="1320"/>
                    <a:pt x="1850" y="1320"/>
                  </a:cubicBezTo>
                  <a:cubicBezTo>
                    <a:pt x="936" y="1320"/>
                    <a:pt x="936" y="1320"/>
                    <a:pt x="936" y="1320"/>
                  </a:cubicBezTo>
                  <a:cubicBezTo>
                    <a:pt x="22" y="1320"/>
                    <a:pt x="22" y="1320"/>
                    <a:pt x="22" y="1320"/>
                  </a:cubicBezTo>
                  <a:cubicBezTo>
                    <a:pt x="9" y="1320"/>
                    <a:pt x="0" y="1310"/>
                    <a:pt x="0" y="1298"/>
                  </a:cubicBezTo>
                  <a:cubicBezTo>
                    <a:pt x="0" y="22"/>
                    <a:pt x="0" y="22"/>
                    <a:pt x="0" y="22"/>
                  </a:cubicBezTo>
                  <a:cubicBezTo>
                    <a:pt x="0" y="10"/>
                    <a:pt x="9" y="0"/>
                    <a:pt x="22" y="0"/>
                  </a:cubicBezTo>
                  <a:cubicBezTo>
                    <a:pt x="936" y="0"/>
                    <a:pt x="936" y="0"/>
                    <a:pt x="936" y="0"/>
                  </a:cubicBezTo>
                  <a:cubicBezTo>
                    <a:pt x="1211" y="0"/>
                    <a:pt x="1211" y="0"/>
                    <a:pt x="1211" y="0"/>
                  </a:cubicBezTo>
                  <a:cubicBezTo>
                    <a:pt x="1211" y="44"/>
                    <a:pt x="1211" y="44"/>
                    <a:pt x="1211" y="44"/>
                  </a:cubicBezTo>
                  <a:cubicBezTo>
                    <a:pt x="958" y="44"/>
                    <a:pt x="958" y="44"/>
                    <a:pt x="958" y="44"/>
                  </a:cubicBezTo>
                  <a:cubicBezTo>
                    <a:pt x="958" y="1276"/>
                    <a:pt x="958" y="1276"/>
                    <a:pt x="958" y="1276"/>
                  </a:cubicBezTo>
                  <a:cubicBezTo>
                    <a:pt x="1828" y="1276"/>
                    <a:pt x="1828" y="1276"/>
                    <a:pt x="1828" y="1276"/>
                  </a:cubicBezTo>
                  <a:cubicBezTo>
                    <a:pt x="1828" y="44"/>
                    <a:pt x="1828" y="44"/>
                    <a:pt x="1828" y="44"/>
                  </a:cubicBezTo>
                  <a:cubicBezTo>
                    <a:pt x="1608" y="44"/>
                    <a:pt x="1608" y="44"/>
                    <a:pt x="1608" y="44"/>
                  </a:cubicBezTo>
                  <a:cubicBezTo>
                    <a:pt x="1608" y="0"/>
                    <a:pt x="1608" y="0"/>
                    <a:pt x="1608" y="0"/>
                  </a:cubicBezTo>
                  <a:cubicBezTo>
                    <a:pt x="1850" y="0"/>
                    <a:pt x="1850" y="0"/>
                    <a:pt x="1850" y="0"/>
                  </a:cubicBezTo>
                  <a:cubicBezTo>
                    <a:pt x="1863" y="0"/>
                    <a:pt x="1872" y="10"/>
                    <a:pt x="1872" y="22"/>
                  </a:cubicBezTo>
                  <a:close/>
                  <a:moveTo>
                    <a:pt x="44" y="1276"/>
                  </a:moveTo>
                  <a:cubicBezTo>
                    <a:pt x="914" y="1276"/>
                    <a:pt x="914" y="1276"/>
                    <a:pt x="914" y="1276"/>
                  </a:cubicBezTo>
                  <a:cubicBezTo>
                    <a:pt x="914" y="44"/>
                    <a:pt x="914" y="44"/>
                    <a:pt x="914" y="44"/>
                  </a:cubicBezTo>
                  <a:cubicBezTo>
                    <a:pt x="44" y="44"/>
                    <a:pt x="44" y="44"/>
                    <a:pt x="44" y="44"/>
                  </a:cubicBezTo>
                  <a:lnTo>
                    <a:pt x="44" y="1276"/>
                  </a:lnTo>
                  <a:close/>
                </a:path>
              </a:pathLst>
            </a:custGeom>
            <a:solidFill>
              <a:srgbClr val="0056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a:p>
          </p:txBody>
        </p:sp>
        <p:sp>
          <p:nvSpPr>
            <p:cNvPr id="114" name="Freeform 11">
              <a:extLst>
                <a:ext uri="{FF2B5EF4-FFF2-40B4-BE49-F238E27FC236}">
                  <a16:creationId xmlns:a16="http://schemas.microsoft.com/office/drawing/2014/main" id="{C2C6DEB8-77FB-4C2B-8B48-FE3F303DB1DB}"/>
                </a:ext>
              </a:extLst>
            </p:cNvPr>
            <p:cNvSpPr>
              <a:spLocks noEditPoints="1"/>
            </p:cNvSpPr>
            <p:nvPr/>
          </p:nvSpPr>
          <p:spPr bwMode="auto">
            <a:xfrm>
              <a:off x="3280500" y="4141415"/>
              <a:ext cx="798992" cy="544768"/>
            </a:xfrm>
            <a:custGeom>
              <a:avLst/>
              <a:gdLst>
                <a:gd name="T0" fmla="*/ 2114 w 2114"/>
                <a:gd name="T1" fmla="*/ 0 h 1440"/>
                <a:gd name="T2" fmla="*/ 2114 w 2114"/>
                <a:gd name="T3" fmla="*/ 1418 h 1440"/>
                <a:gd name="T4" fmla="*/ 2092 w 2114"/>
                <a:gd name="T5" fmla="*/ 1440 h 1440"/>
                <a:gd name="T6" fmla="*/ 22 w 2114"/>
                <a:gd name="T7" fmla="*/ 1440 h 1440"/>
                <a:gd name="T8" fmla="*/ 0 w 2114"/>
                <a:gd name="T9" fmla="*/ 1418 h 1440"/>
                <a:gd name="T10" fmla="*/ 0 w 2114"/>
                <a:gd name="T11" fmla="*/ 0 h 1440"/>
                <a:gd name="T12" fmla="*/ 63 w 2114"/>
                <a:gd name="T13" fmla="*/ 0 h 1440"/>
                <a:gd name="T14" fmla="*/ 63 w 2114"/>
                <a:gd name="T15" fmla="*/ 1354 h 1440"/>
                <a:gd name="T16" fmla="*/ 85 w 2114"/>
                <a:gd name="T17" fmla="*/ 1376 h 1440"/>
                <a:gd name="T18" fmla="*/ 2029 w 2114"/>
                <a:gd name="T19" fmla="*/ 1376 h 1440"/>
                <a:gd name="T20" fmla="*/ 2051 w 2114"/>
                <a:gd name="T21" fmla="*/ 1354 h 1440"/>
                <a:gd name="T22" fmla="*/ 2051 w 2114"/>
                <a:gd name="T23" fmla="*/ 0 h 1440"/>
                <a:gd name="T24" fmla="*/ 2114 w 2114"/>
                <a:gd name="T25" fmla="*/ 0 h 1440"/>
                <a:gd name="T26" fmla="*/ 1670 w 2114"/>
                <a:gd name="T27" fmla="*/ 544 h 1440"/>
                <a:gd name="T28" fmla="*/ 1685 w 2114"/>
                <a:gd name="T29" fmla="*/ 536 h 1440"/>
                <a:gd name="T30" fmla="*/ 1685 w 2114"/>
                <a:gd name="T31" fmla="*/ 11 h 1440"/>
                <a:gd name="T32" fmla="*/ 1675 w 2114"/>
                <a:gd name="T33" fmla="*/ 0 h 1440"/>
                <a:gd name="T34" fmla="*/ 1386 w 2114"/>
                <a:gd name="T35" fmla="*/ 0 h 1440"/>
                <a:gd name="T36" fmla="*/ 1376 w 2114"/>
                <a:gd name="T37" fmla="*/ 11 h 1440"/>
                <a:gd name="T38" fmla="*/ 1376 w 2114"/>
                <a:gd name="T39" fmla="*/ 536 h 1440"/>
                <a:gd name="T40" fmla="*/ 1392 w 2114"/>
                <a:gd name="T41" fmla="*/ 544 h 1440"/>
                <a:gd name="T42" fmla="*/ 1525 w 2114"/>
                <a:gd name="T43" fmla="*/ 415 h 1440"/>
                <a:gd name="T44" fmla="*/ 1537 w 2114"/>
                <a:gd name="T45" fmla="*/ 415 h 1440"/>
                <a:gd name="T46" fmla="*/ 1670 w 2114"/>
                <a:gd name="T47" fmla="*/ 544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14" h="1440">
                  <a:moveTo>
                    <a:pt x="2114" y="0"/>
                  </a:moveTo>
                  <a:cubicBezTo>
                    <a:pt x="2114" y="1418"/>
                    <a:pt x="2114" y="1418"/>
                    <a:pt x="2114" y="1418"/>
                  </a:cubicBezTo>
                  <a:cubicBezTo>
                    <a:pt x="2114" y="1430"/>
                    <a:pt x="2104" y="1440"/>
                    <a:pt x="2092" y="1440"/>
                  </a:cubicBezTo>
                  <a:cubicBezTo>
                    <a:pt x="22" y="1440"/>
                    <a:pt x="22" y="1440"/>
                    <a:pt x="22" y="1440"/>
                  </a:cubicBezTo>
                  <a:cubicBezTo>
                    <a:pt x="10" y="1440"/>
                    <a:pt x="0" y="1430"/>
                    <a:pt x="0" y="1418"/>
                  </a:cubicBezTo>
                  <a:cubicBezTo>
                    <a:pt x="0" y="0"/>
                    <a:pt x="0" y="0"/>
                    <a:pt x="0" y="0"/>
                  </a:cubicBezTo>
                  <a:cubicBezTo>
                    <a:pt x="63" y="0"/>
                    <a:pt x="63" y="0"/>
                    <a:pt x="63" y="0"/>
                  </a:cubicBezTo>
                  <a:cubicBezTo>
                    <a:pt x="63" y="1354"/>
                    <a:pt x="63" y="1354"/>
                    <a:pt x="63" y="1354"/>
                  </a:cubicBezTo>
                  <a:cubicBezTo>
                    <a:pt x="63" y="1366"/>
                    <a:pt x="73" y="1376"/>
                    <a:pt x="85" y="1376"/>
                  </a:cubicBezTo>
                  <a:cubicBezTo>
                    <a:pt x="2029" y="1376"/>
                    <a:pt x="2029" y="1376"/>
                    <a:pt x="2029" y="1376"/>
                  </a:cubicBezTo>
                  <a:cubicBezTo>
                    <a:pt x="2041" y="1376"/>
                    <a:pt x="2051" y="1366"/>
                    <a:pt x="2051" y="1354"/>
                  </a:cubicBezTo>
                  <a:cubicBezTo>
                    <a:pt x="2051" y="0"/>
                    <a:pt x="2051" y="0"/>
                    <a:pt x="2051" y="0"/>
                  </a:cubicBezTo>
                  <a:lnTo>
                    <a:pt x="2114" y="0"/>
                  </a:lnTo>
                  <a:close/>
                  <a:moveTo>
                    <a:pt x="1670" y="544"/>
                  </a:moveTo>
                  <a:cubicBezTo>
                    <a:pt x="1675" y="551"/>
                    <a:pt x="1685" y="545"/>
                    <a:pt x="1685" y="536"/>
                  </a:cubicBezTo>
                  <a:cubicBezTo>
                    <a:pt x="1685" y="536"/>
                    <a:pt x="1685" y="536"/>
                    <a:pt x="1685" y="11"/>
                  </a:cubicBezTo>
                  <a:cubicBezTo>
                    <a:pt x="1685" y="5"/>
                    <a:pt x="1681" y="0"/>
                    <a:pt x="1675" y="0"/>
                  </a:cubicBezTo>
                  <a:cubicBezTo>
                    <a:pt x="1675" y="0"/>
                    <a:pt x="1675" y="0"/>
                    <a:pt x="1386" y="0"/>
                  </a:cubicBezTo>
                  <a:cubicBezTo>
                    <a:pt x="1381" y="0"/>
                    <a:pt x="1376" y="5"/>
                    <a:pt x="1376" y="11"/>
                  </a:cubicBezTo>
                  <a:cubicBezTo>
                    <a:pt x="1376" y="11"/>
                    <a:pt x="1376" y="11"/>
                    <a:pt x="1376" y="536"/>
                  </a:cubicBezTo>
                  <a:cubicBezTo>
                    <a:pt x="1376" y="545"/>
                    <a:pt x="1386" y="551"/>
                    <a:pt x="1392" y="544"/>
                  </a:cubicBezTo>
                  <a:cubicBezTo>
                    <a:pt x="1392" y="544"/>
                    <a:pt x="1392" y="544"/>
                    <a:pt x="1525" y="415"/>
                  </a:cubicBezTo>
                  <a:cubicBezTo>
                    <a:pt x="1528" y="412"/>
                    <a:pt x="1533" y="412"/>
                    <a:pt x="1537" y="415"/>
                  </a:cubicBezTo>
                  <a:cubicBezTo>
                    <a:pt x="1537" y="415"/>
                    <a:pt x="1537" y="415"/>
                    <a:pt x="1670" y="544"/>
                  </a:cubicBezTo>
                  <a:close/>
                </a:path>
              </a:pathLst>
            </a:custGeom>
            <a:solidFill>
              <a:srgbClr val="0056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a:p>
          </p:txBody>
        </p:sp>
      </p:grpSp>
      <p:sp>
        <p:nvSpPr>
          <p:cNvPr id="105" name="TextBox 104"/>
          <p:cNvSpPr txBox="1"/>
          <p:nvPr/>
        </p:nvSpPr>
        <p:spPr>
          <a:xfrm>
            <a:off x="1433811" y="1922212"/>
            <a:ext cx="1527056" cy="615553"/>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2000" b="1">
                <a:solidFill>
                  <a:srgbClr val="005674"/>
                </a:solidFill>
              </a:rPr>
              <a:t>Educational content</a:t>
            </a:r>
          </a:p>
        </p:txBody>
      </p:sp>
      <p:sp>
        <p:nvSpPr>
          <p:cNvPr id="102" name="TextBox 101"/>
          <p:cNvSpPr txBox="1"/>
          <p:nvPr/>
        </p:nvSpPr>
        <p:spPr>
          <a:xfrm>
            <a:off x="2441476" y="2967843"/>
            <a:ext cx="1376328" cy="615553"/>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2000" b="1">
                <a:solidFill>
                  <a:srgbClr val="0082B0"/>
                </a:solidFill>
              </a:rPr>
              <a:t>Curriculum framework</a:t>
            </a:r>
          </a:p>
        </p:txBody>
      </p:sp>
      <p:sp>
        <p:nvSpPr>
          <p:cNvPr id="107" name="TextBox 106"/>
          <p:cNvSpPr txBox="1"/>
          <p:nvPr/>
        </p:nvSpPr>
        <p:spPr>
          <a:xfrm>
            <a:off x="3779062" y="4123171"/>
            <a:ext cx="1512926" cy="615553"/>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2000" b="1">
                <a:solidFill>
                  <a:srgbClr val="00B0F0"/>
                </a:solidFill>
              </a:rPr>
              <a:t>Technology platform</a:t>
            </a:r>
          </a:p>
        </p:txBody>
      </p:sp>
      <p:sp>
        <p:nvSpPr>
          <p:cNvPr id="109" name="TextBox 108"/>
          <p:cNvSpPr txBox="1"/>
          <p:nvPr/>
        </p:nvSpPr>
        <p:spPr>
          <a:xfrm>
            <a:off x="4567120" y="5367980"/>
            <a:ext cx="1696621" cy="615553"/>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2000" b="1">
                <a:solidFill>
                  <a:srgbClr val="93E2FF"/>
                </a:solidFill>
              </a:rPr>
              <a:t>Supportive environment</a:t>
            </a:r>
          </a:p>
        </p:txBody>
      </p:sp>
      <p:grpSp>
        <p:nvGrpSpPr>
          <p:cNvPr id="6" name="Group 5"/>
          <p:cNvGrpSpPr>
            <a:grpSpLocks/>
          </p:cNvGrpSpPr>
          <p:nvPr/>
        </p:nvGrpSpPr>
        <p:grpSpPr>
          <a:xfrm>
            <a:off x="1846049" y="2989474"/>
            <a:ext cx="394059" cy="572290"/>
            <a:chOff x="3551767" y="2615145"/>
            <a:chExt cx="492574" cy="715363"/>
          </a:xfrm>
          <a:solidFill>
            <a:schemeClr val="accent6">
              <a:lumMod val="75000"/>
            </a:schemeClr>
          </a:solidFill>
        </p:grpSpPr>
        <p:sp>
          <p:nvSpPr>
            <p:cNvPr id="100" name="Freeform 99"/>
            <p:cNvSpPr>
              <a:spLocks/>
            </p:cNvSpPr>
            <p:nvPr/>
          </p:nvSpPr>
          <p:spPr bwMode="auto">
            <a:xfrm>
              <a:off x="3551767" y="2677805"/>
              <a:ext cx="492574" cy="652703"/>
            </a:xfrm>
            <a:custGeom>
              <a:avLst/>
              <a:gdLst>
                <a:gd name="T0" fmla="*/ 22 w 1258"/>
                <a:gd name="T1" fmla="*/ 1670 h 1670"/>
                <a:gd name="T2" fmla="*/ 1236 w 1258"/>
                <a:gd name="T3" fmla="*/ 1670 h 1670"/>
                <a:gd name="T4" fmla="*/ 1258 w 1258"/>
                <a:gd name="T5" fmla="*/ 1648 h 1670"/>
                <a:gd name="T6" fmla="*/ 1258 w 1258"/>
                <a:gd name="T7" fmla="*/ 22 h 1670"/>
                <a:gd name="T8" fmla="*/ 1236 w 1258"/>
                <a:gd name="T9" fmla="*/ 0 h 1670"/>
                <a:gd name="T10" fmla="*/ 876 w 1258"/>
                <a:gd name="T11" fmla="*/ 0 h 1670"/>
                <a:gd name="T12" fmla="*/ 876 w 1258"/>
                <a:gd name="T13" fmla="*/ 44 h 1670"/>
                <a:gd name="T14" fmla="*/ 1214 w 1258"/>
                <a:gd name="T15" fmla="*/ 44 h 1670"/>
                <a:gd name="T16" fmla="*/ 1214 w 1258"/>
                <a:gd name="T17" fmla="*/ 1626 h 1670"/>
                <a:gd name="T18" fmla="*/ 44 w 1258"/>
                <a:gd name="T19" fmla="*/ 1626 h 1670"/>
                <a:gd name="T20" fmla="*/ 44 w 1258"/>
                <a:gd name="T21" fmla="*/ 44 h 1670"/>
                <a:gd name="T22" fmla="*/ 382 w 1258"/>
                <a:gd name="T23" fmla="*/ 44 h 1670"/>
                <a:gd name="T24" fmla="*/ 382 w 1258"/>
                <a:gd name="T25" fmla="*/ 0 h 1670"/>
                <a:gd name="T26" fmla="*/ 22 w 1258"/>
                <a:gd name="T27" fmla="*/ 0 h 1670"/>
                <a:gd name="T28" fmla="*/ 0 w 1258"/>
                <a:gd name="T29" fmla="*/ 22 h 1670"/>
                <a:gd name="T30" fmla="*/ 0 w 1258"/>
                <a:gd name="T31" fmla="*/ 1648 h 1670"/>
                <a:gd name="T32" fmla="*/ 22 w 1258"/>
                <a:gd name="T33" fmla="*/ 1670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8" h="1670">
                  <a:moveTo>
                    <a:pt x="22" y="1670"/>
                  </a:moveTo>
                  <a:cubicBezTo>
                    <a:pt x="1236" y="1670"/>
                    <a:pt x="1236" y="1670"/>
                    <a:pt x="1236" y="1670"/>
                  </a:cubicBezTo>
                  <a:cubicBezTo>
                    <a:pt x="1249" y="1670"/>
                    <a:pt x="1258" y="1661"/>
                    <a:pt x="1258" y="1648"/>
                  </a:cubicBezTo>
                  <a:cubicBezTo>
                    <a:pt x="1258" y="22"/>
                    <a:pt x="1258" y="22"/>
                    <a:pt x="1258" y="22"/>
                  </a:cubicBezTo>
                  <a:cubicBezTo>
                    <a:pt x="1258" y="10"/>
                    <a:pt x="1249" y="0"/>
                    <a:pt x="1236" y="0"/>
                  </a:cubicBezTo>
                  <a:cubicBezTo>
                    <a:pt x="876" y="0"/>
                    <a:pt x="876" y="0"/>
                    <a:pt x="876" y="0"/>
                  </a:cubicBezTo>
                  <a:cubicBezTo>
                    <a:pt x="876" y="44"/>
                    <a:pt x="876" y="44"/>
                    <a:pt x="876" y="44"/>
                  </a:cubicBezTo>
                  <a:cubicBezTo>
                    <a:pt x="1214" y="44"/>
                    <a:pt x="1214" y="44"/>
                    <a:pt x="1214" y="44"/>
                  </a:cubicBezTo>
                  <a:cubicBezTo>
                    <a:pt x="1214" y="1626"/>
                    <a:pt x="1214" y="1626"/>
                    <a:pt x="1214" y="1626"/>
                  </a:cubicBezTo>
                  <a:cubicBezTo>
                    <a:pt x="44" y="1626"/>
                    <a:pt x="44" y="1626"/>
                    <a:pt x="44" y="1626"/>
                  </a:cubicBezTo>
                  <a:cubicBezTo>
                    <a:pt x="44" y="44"/>
                    <a:pt x="44" y="44"/>
                    <a:pt x="44" y="44"/>
                  </a:cubicBezTo>
                  <a:cubicBezTo>
                    <a:pt x="382" y="44"/>
                    <a:pt x="382" y="44"/>
                    <a:pt x="382" y="44"/>
                  </a:cubicBezTo>
                  <a:cubicBezTo>
                    <a:pt x="382" y="0"/>
                    <a:pt x="382" y="0"/>
                    <a:pt x="382" y="0"/>
                  </a:cubicBezTo>
                  <a:cubicBezTo>
                    <a:pt x="22" y="0"/>
                    <a:pt x="22" y="0"/>
                    <a:pt x="22" y="0"/>
                  </a:cubicBezTo>
                  <a:cubicBezTo>
                    <a:pt x="9" y="0"/>
                    <a:pt x="0" y="10"/>
                    <a:pt x="0" y="22"/>
                  </a:cubicBezTo>
                  <a:cubicBezTo>
                    <a:pt x="0" y="1648"/>
                    <a:pt x="0" y="1648"/>
                    <a:pt x="0" y="1648"/>
                  </a:cubicBezTo>
                  <a:cubicBezTo>
                    <a:pt x="0" y="1661"/>
                    <a:pt x="9" y="1670"/>
                    <a:pt x="22" y="1670"/>
                  </a:cubicBezTo>
                  <a:close/>
                </a:path>
              </a:pathLst>
            </a:custGeom>
            <a:solidFill>
              <a:srgbClr val="0082B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a:p>
          </p:txBody>
        </p:sp>
        <p:sp>
          <p:nvSpPr>
            <p:cNvPr id="101" name="Freeform 100"/>
            <p:cNvSpPr>
              <a:spLocks/>
            </p:cNvSpPr>
            <p:nvPr/>
          </p:nvSpPr>
          <p:spPr bwMode="auto">
            <a:xfrm>
              <a:off x="3633573" y="2615145"/>
              <a:ext cx="328963" cy="59961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31750 w 600075"/>
                <a:gd name="connsiteY7" fmla="*/ 971550 h 1093787"/>
                <a:gd name="connsiteX8" fmla="*/ 31750 w 600075"/>
                <a:gd name="connsiteY8" fmla="*/ 1062038 h 1093787"/>
                <a:gd name="connsiteX9" fmla="*/ 122238 w 600075"/>
                <a:gd name="connsiteY9" fmla="*/ 1062038 h 1093787"/>
                <a:gd name="connsiteX10" fmla="*/ 122238 w 600075"/>
                <a:gd name="connsiteY10" fmla="*/ 971550 h 1093787"/>
                <a:gd name="connsiteX11" fmla="*/ 296727 w 600075"/>
                <a:gd name="connsiteY11" fmla="*/ 958850 h 1093787"/>
                <a:gd name="connsiteX12" fmla="*/ 584335 w 600075"/>
                <a:gd name="connsiteY12" fmla="*/ 958850 h 1093787"/>
                <a:gd name="connsiteX13" fmla="*/ 600075 w 600075"/>
                <a:gd name="connsiteY13" fmla="*/ 974725 h 1093787"/>
                <a:gd name="connsiteX14" fmla="*/ 584335 w 600075"/>
                <a:gd name="connsiteY14" fmla="*/ 990600 h 1093787"/>
                <a:gd name="connsiteX15" fmla="*/ 296727 w 600075"/>
                <a:gd name="connsiteY15" fmla="*/ 990600 h 1093787"/>
                <a:gd name="connsiteX16" fmla="*/ 280987 w 600075"/>
                <a:gd name="connsiteY16" fmla="*/ 974725 h 1093787"/>
                <a:gd name="connsiteX17" fmla="*/ 296727 w 600075"/>
                <a:gd name="connsiteY17" fmla="*/ 958850 h 1093787"/>
                <a:gd name="connsiteX18" fmla="*/ 15668 w 600075"/>
                <a:gd name="connsiteY18" fmla="*/ 941387 h 1093787"/>
                <a:gd name="connsiteX19" fmla="*/ 136733 w 600075"/>
                <a:gd name="connsiteY19" fmla="*/ 941387 h 1093787"/>
                <a:gd name="connsiteX20" fmla="*/ 152400 w 600075"/>
                <a:gd name="connsiteY20" fmla="*/ 957054 h 1093787"/>
                <a:gd name="connsiteX21" fmla="*/ 152400 w 600075"/>
                <a:gd name="connsiteY21" fmla="*/ 1078120 h 1093787"/>
                <a:gd name="connsiteX22" fmla="*/ 136733 w 600075"/>
                <a:gd name="connsiteY22" fmla="*/ 1093787 h 1093787"/>
                <a:gd name="connsiteX23" fmla="*/ 15668 w 600075"/>
                <a:gd name="connsiteY23" fmla="*/ 1093787 h 1093787"/>
                <a:gd name="connsiteX24" fmla="*/ 0 w 600075"/>
                <a:gd name="connsiteY24" fmla="*/ 1078120 h 1093787"/>
                <a:gd name="connsiteX25" fmla="*/ 0 w 600075"/>
                <a:gd name="connsiteY25" fmla="*/ 957054 h 1093787"/>
                <a:gd name="connsiteX26" fmla="*/ 15668 w 600075"/>
                <a:gd name="connsiteY26" fmla="*/ 941387 h 1093787"/>
                <a:gd name="connsiteX27" fmla="*/ 296727 w 600075"/>
                <a:gd name="connsiteY27" fmla="*/ 766762 h 1093787"/>
                <a:gd name="connsiteX28" fmla="*/ 584335 w 600075"/>
                <a:gd name="connsiteY28" fmla="*/ 766762 h 1093787"/>
                <a:gd name="connsiteX29" fmla="*/ 600075 w 600075"/>
                <a:gd name="connsiteY29" fmla="*/ 782637 h 1093787"/>
                <a:gd name="connsiteX30" fmla="*/ 584335 w 600075"/>
                <a:gd name="connsiteY30" fmla="*/ 798512 h 1093787"/>
                <a:gd name="connsiteX31" fmla="*/ 296727 w 600075"/>
                <a:gd name="connsiteY31" fmla="*/ 798512 h 1093787"/>
                <a:gd name="connsiteX32" fmla="*/ 280987 w 600075"/>
                <a:gd name="connsiteY32" fmla="*/ 782637 h 1093787"/>
                <a:gd name="connsiteX33" fmla="*/ 296727 w 600075"/>
                <a:gd name="connsiteY33" fmla="*/ 766762 h 1093787"/>
                <a:gd name="connsiteX34" fmla="*/ 31750 w 600075"/>
                <a:gd name="connsiteY34" fmla="*/ 695325 h 1093787"/>
                <a:gd name="connsiteX35" fmla="*/ 31750 w 600075"/>
                <a:gd name="connsiteY35" fmla="*/ 785813 h 1093787"/>
                <a:gd name="connsiteX36" fmla="*/ 122238 w 600075"/>
                <a:gd name="connsiteY36" fmla="*/ 785813 h 1093787"/>
                <a:gd name="connsiteX37" fmla="*/ 122238 w 600075"/>
                <a:gd name="connsiteY37" fmla="*/ 695325 h 1093787"/>
                <a:gd name="connsiteX38" fmla="*/ 296727 w 600075"/>
                <a:gd name="connsiteY38" fmla="*/ 681037 h 1093787"/>
                <a:gd name="connsiteX39" fmla="*/ 584335 w 600075"/>
                <a:gd name="connsiteY39" fmla="*/ 681037 h 1093787"/>
                <a:gd name="connsiteX40" fmla="*/ 600075 w 600075"/>
                <a:gd name="connsiteY40" fmla="*/ 696912 h 1093787"/>
                <a:gd name="connsiteX41" fmla="*/ 584335 w 600075"/>
                <a:gd name="connsiteY41" fmla="*/ 712787 h 1093787"/>
                <a:gd name="connsiteX42" fmla="*/ 296727 w 600075"/>
                <a:gd name="connsiteY42" fmla="*/ 712787 h 1093787"/>
                <a:gd name="connsiteX43" fmla="*/ 280987 w 600075"/>
                <a:gd name="connsiteY43" fmla="*/ 696912 h 1093787"/>
                <a:gd name="connsiteX44" fmla="*/ 296727 w 600075"/>
                <a:gd name="connsiteY44" fmla="*/ 681037 h 1093787"/>
                <a:gd name="connsiteX45" fmla="*/ 15668 w 600075"/>
                <a:gd name="connsiteY45" fmla="*/ 663575 h 1093787"/>
                <a:gd name="connsiteX46" fmla="*/ 136733 w 600075"/>
                <a:gd name="connsiteY46" fmla="*/ 663575 h 1093787"/>
                <a:gd name="connsiteX47" fmla="*/ 152400 w 600075"/>
                <a:gd name="connsiteY47" fmla="*/ 679242 h 1093787"/>
                <a:gd name="connsiteX48" fmla="*/ 152400 w 600075"/>
                <a:gd name="connsiteY48" fmla="*/ 800308 h 1093787"/>
                <a:gd name="connsiteX49" fmla="*/ 136733 w 600075"/>
                <a:gd name="connsiteY49" fmla="*/ 815975 h 1093787"/>
                <a:gd name="connsiteX50" fmla="*/ 15668 w 600075"/>
                <a:gd name="connsiteY50" fmla="*/ 815975 h 1093787"/>
                <a:gd name="connsiteX51" fmla="*/ 0 w 600075"/>
                <a:gd name="connsiteY51" fmla="*/ 800308 h 1093787"/>
                <a:gd name="connsiteX52" fmla="*/ 0 w 600075"/>
                <a:gd name="connsiteY52" fmla="*/ 679242 h 1093787"/>
                <a:gd name="connsiteX53" fmla="*/ 15668 w 600075"/>
                <a:gd name="connsiteY53" fmla="*/ 663575 h 1093787"/>
                <a:gd name="connsiteX54" fmla="*/ 296727 w 600075"/>
                <a:gd name="connsiteY54" fmla="*/ 485775 h 1093787"/>
                <a:gd name="connsiteX55" fmla="*/ 584335 w 600075"/>
                <a:gd name="connsiteY55" fmla="*/ 485775 h 1093787"/>
                <a:gd name="connsiteX56" fmla="*/ 600075 w 600075"/>
                <a:gd name="connsiteY56" fmla="*/ 501650 h 1093787"/>
                <a:gd name="connsiteX57" fmla="*/ 584335 w 600075"/>
                <a:gd name="connsiteY57" fmla="*/ 517525 h 1093787"/>
                <a:gd name="connsiteX58" fmla="*/ 296727 w 600075"/>
                <a:gd name="connsiteY58" fmla="*/ 517525 h 1093787"/>
                <a:gd name="connsiteX59" fmla="*/ 280987 w 600075"/>
                <a:gd name="connsiteY59" fmla="*/ 501650 h 1093787"/>
                <a:gd name="connsiteX60" fmla="*/ 296727 w 600075"/>
                <a:gd name="connsiteY60" fmla="*/ 485775 h 1093787"/>
                <a:gd name="connsiteX61" fmla="*/ 31750 w 600075"/>
                <a:gd name="connsiteY61" fmla="*/ 412750 h 1093787"/>
                <a:gd name="connsiteX62" fmla="*/ 31750 w 600075"/>
                <a:gd name="connsiteY62" fmla="*/ 503238 h 1093787"/>
                <a:gd name="connsiteX63" fmla="*/ 122238 w 600075"/>
                <a:gd name="connsiteY63" fmla="*/ 503238 h 1093787"/>
                <a:gd name="connsiteX64" fmla="*/ 122238 w 600075"/>
                <a:gd name="connsiteY64" fmla="*/ 412750 h 1093787"/>
                <a:gd name="connsiteX65" fmla="*/ 296727 w 600075"/>
                <a:gd name="connsiteY65" fmla="*/ 400050 h 1093787"/>
                <a:gd name="connsiteX66" fmla="*/ 584335 w 600075"/>
                <a:gd name="connsiteY66" fmla="*/ 400050 h 1093787"/>
                <a:gd name="connsiteX67" fmla="*/ 600075 w 600075"/>
                <a:gd name="connsiteY67" fmla="*/ 415925 h 1093787"/>
                <a:gd name="connsiteX68" fmla="*/ 584335 w 600075"/>
                <a:gd name="connsiteY68" fmla="*/ 431800 h 1093787"/>
                <a:gd name="connsiteX69" fmla="*/ 296727 w 600075"/>
                <a:gd name="connsiteY69" fmla="*/ 431800 h 1093787"/>
                <a:gd name="connsiteX70" fmla="*/ 280987 w 600075"/>
                <a:gd name="connsiteY70" fmla="*/ 415925 h 1093787"/>
                <a:gd name="connsiteX71" fmla="*/ 296727 w 600075"/>
                <a:gd name="connsiteY71" fmla="*/ 400050 h 1093787"/>
                <a:gd name="connsiteX72" fmla="*/ 15668 w 600075"/>
                <a:gd name="connsiteY72" fmla="*/ 382587 h 1093787"/>
                <a:gd name="connsiteX73" fmla="*/ 136733 w 600075"/>
                <a:gd name="connsiteY73" fmla="*/ 382587 h 1093787"/>
                <a:gd name="connsiteX74" fmla="*/ 152400 w 600075"/>
                <a:gd name="connsiteY74" fmla="*/ 398182 h 1093787"/>
                <a:gd name="connsiteX75" fmla="*/ 152400 w 600075"/>
                <a:gd name="connsiteY75" fmla="*/ 519393 h 1093787"/>
                <a:gd name="connsiteX76" fmla="*/ 136733 w 600075"/>
                <a:gd name="connsiteY76" fmla="*/ 534987 h 1093787"/>
                <a:gd name="connsiteX77" fmla="*/ 15668 w 600075"/>
                <a:gd name="connsiteY77" fmla="*/ 534987 h 1093787"/>
                <a:gd name="connsiteX78" fmla="*/ 0 w 600075"/>
                <a:gd name="connsiteY78" fmla="*/ 519393 h 1093787"/>
                <a:gd name="connsiteX79" fmla="*/ 0 w 600075"/>
                <a:gd name="connsiteY79" fmla="*/ 398182 h 1093787"/>
                <a:gd name="connsiteX80" fmla="*/ 15668 w 600075"/>
                <a:gd name="connsiteY80" fmla="*/ 382587 h 1093787"/>
                <a:gd name="connsiteX81" fmla="*/ 301266 w 600075"/>
                <a:gd name="connsiteY81" fmla="*/ 31750 h 1093787"/>
                <a:gd name="connsiteX82" fmla="*/ 279758 w 600075"/>
                <a:gd name="connsiteY82" fmla="*/ 36027 h 1093787"/>
                <a:gd name="connsiteX83" fmla="*/ 246062 w 600075"/>
                <a:gd name="connsiteY83" fmla="*/ 66675 h 1093787"/>
                <a:gd name="connsiteX84" fmla="*/ 357187 w 600075"/>
                <a:gd name="connsiteY84" fmla="*/ 66675 h 1093787"/>
                <a:gd name="connsiteX85" fmla="*/ 323491 w 600075"/>
                <a:gd name="connsiteY85" fmla="*/ 36027 h 1093787"/>
                <a:gd name="connsiteX86" fmla="*/ 301266 w 600075"/>
                <a:gd name="connsiteY86" fmla="*/ 31750 h 1093787"/>
                <a:gd name="connsiteX87" fmla="*/ 300832 w 600075"/>
                <a:gd name="connsiteY87" fmla="*/ 0 h 1093787"/>
                <a:gd name="connsiteX88" fmla="*/ 373818 w 600075"/>
                <a:gd name="connsiteY88" fmla="*/ 35602 h 1093787"/>
                <a:gd name="connsiteX89" fmla="*/ 390275 w 600075"/>
                <a:gd name="connsiteY89" fmla="*/ 66220 h 1093787"/>
                <a:gd name="connsiteX90" fmla="*/ 439648 w 600075"/>
                <a:gd name="connsiteY90" fmla="*/ 66220 h 1093787"/>
                <a:gd name="connsiteX91" fmla="*/ 446088 w 600075"/>
                <a:gd name="connsiteY91" fmla="*/ 73340 h 1093787"/>
                <a:gd name="connsiteX92" fmla="*/ 446088 w 600075"/>
                <a:gd name="connsiteY92" fmla="*/ 113927 h 1093787"/>
                <a:gd name="connsiteX93" fmla="*/ 446088 w 600075"/>
                <a:gd name="connsiteY93" fmla="*/ 145256 h 1093787"/>
                <a:gd name="connsiteX94" fmla="*/ 446088 w 600075"/>
                <a:gd name="connsiteY94" fmla="*/ 178010 h 1093787"/>
                <a:gd name="connsiteX95" fmla="*/ 431062 w 600075"/>
                <a:gd name="connsiteY95" fmla="*/ 193675 h 1093787"/>
                <a:gd name="connsiteX96" fmla="*/ 171317 w 600075"/>
                <a:gd name="connsiteY96" fmla="*/ 193675 h 1093787"/>
                <a:gd name="connsiteX97" fmla="*/ 155575 w 600075"/>
                <a:gd name="connsiteY97" fmla="*/ 178010 h 1093787"/>
                <a:gd name="connsiteX98" fmla="*/ 155575 w 600075"/>
                <a:gd name="connsiteY98" fmla="*/ 145256 h 1093787"/>
                <a:gd name="connsiteX99" fmla="*/ 155575 w 600075"/>
                <a:gd name="connsiteY99" fmla="*/ 113927 h 1093787"/>
                <a:gd name="connsiteX100" fmla="*/ 155575 w 600075"/>
                <a:gd name="connsiteY100" fmla="*/ 73340 h 1093787"/>
                <a:gd name="connsiteX101" fmla="*/ 162731 w 600075"/>
                <a:gd name="connsiteY101" fmla="*/ 66220 h 1093787"/>
                <a:gd name="connsiteX102" fmla="*/ 212104 w 600075"/>
                <a:gd name="connsiteY102" fmla="*/ 66220 h 1093787"/>
                <a:gd name="connsiteX103" fmla="*/ 227846 w 600075"/>
                <a:gd name="connsiteY103" fmla="*/ 35602 h 1093787"/>
                <a:gd name="connsiteX104" fmla="*/ 300832 w 600075"/>
                <a:gd name="connsiteY104"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31750" y="971550"/>
                  </a:moveTo>
                  <a:lnTo>
                    <a:pt x="31750" y="1062038"/>
                  </a:lnTo>
                  <a:lnTo>
                    <a:pt x="122238" y="1062038"/>
                  </a:lnTo>
                  <a:lnTo>
                    <a:pt x="122238" y="971550"/>
                  </a:ln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8" y="941387"/>
                  </a:moveTo>
                  <a:cubicBezTo>
                    <a:pt x="15668" y="941387"/>
                    <a:pt x="15668" y="941387"/>
                    <a:pt x="136733" y="941387"/>
                  </a:cubicBezTo>
                  <a:cubicBezTo>
                    <a:pt x="145991" y="941387"/>
                    <a:pt x="152400" y="948509"/>
                    <a:pt x="152400" y="957054"/>
                  </a:cubicBezTo>
                  <a:cubicBezTo>
                    <a:pt x="152400" y="957054"/>
                    <a:pt x="152400" y="957054"/>
                    <a:pt x="152400" y="1078120"/>
                  </a:cubicBezTo>
                  <a:cubicBezTo>
                    <a:pt x="152400" y="1086666"/>
                    <a:pt x="145991" y="1093787"/>
                    <a:pt x="136733" y="1093787"/>
                  </a:cubicBezTo>
                  <a:cubicBezTo>
                    <a:pt x="136733" y="1093787"/>
                    <a:pt x="136733" y="1093787"/>
                    <a:pt x="15668" y="1093787"/>
                  </a:cubicBezTo>
                  <a:cubicBezTo>
                    <a:pt x="7122" y="1093787"/>
                    <a:pt x="0" y="1086666"/>
                    <a:pt x="0" y="1078120"/>
                  </a:cubicBezTo>
                  <a:cubicBezTo>
                    <a:pt x="0" y="1078120"/>
                    <a:pt x="0" y="1078120"/>
                    <a:pt x="0" y="957054"/>
                  </a:cubicBezTo>
                  <a:cubicBezTo>
                    <a:pt x="0" y="948509"/>
                    <a:pt x="7122" y="941387"/>
                    <a:pt x="15668"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31750" y="695325"/>
                  </a:moveTo>
                  <a:lnTo>
                    <a:pt x="31750" y="785813"/>
                  </a:lnTo>
                  <a:lnTo>
                    <a:pt x="122238" y="785813"/>
                  </a:lnTo>
                  <a:lnTo>
                    <a:pt x="122238" y="695325"/>
                  </a:ln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8" y="663575"/>
                  </a:moveTo>
                  <a:cubicBezTo>
                    <a:pt x="15668" y="663575"/>
                    <a:pt x="15668" y="663575"/>
                    <a:pt x="136733" y="663575"/>
                  </a:cubicBezTo>
                  <a:cubicBezTo>
                    <a:pt x="145991" y="663575"/>
                    <a:pt x="152400" y="670697"/>
                    <a:pt x="152400" y="679242"/>
                  </a:cubicBezTo>
                  <a:cubicBezTo>
                    <a:pt x="152400" y="679242"/>
                    <a:pt x="152400" y="679242"/>
                    <a:pt x="152400" y="800308"/>
                  </a:cubicBezTo>
                  <a:cubicBezTo>
                    <a:pt x="152400" y="808854"/>
                    <a:pt x="145991" y="815975"/>
                    <a:pt x="136733" y="815975"/>
                  </a:cubicBezTo>
                  <a:cubicBezTo>
                    <a:pt x="136733" y="815975"/>
                    <a:pt x="136733" y="815975"/>
                    <a:pt x="15668" y="815975"/>
                  </a:cubicBezTo>
                  <a:cubicBezTo>
                    <a:pt x="7122" y="815975"/>
                    <a:pt x="0" y="808854"/>
                    <a:pt x="0" y="800308"/>
                  </a:cubicBezTo>
                  <a:cubicBezTo>
                    <a:pt x="0" y="800308"/>
                    <a:pt x="0" y="800308"/>
                    <a:pt x="0" y="679242"/>
                  </a:cubicBezTo>
                  <a:cubicBezTo>
                    <a:pt x="0" y="670697"/>
                    <a:pt x="7122" y="663575"/>
                    <a:pt x="15668"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31750" y="412750"/>
                  </a:moveTo>
                  <a:lnTo>
                    <a:pt x="31750" y="503238"/>
                  </a:lnTo>
                  <a:lnTo>
                    <a:pt x="122238" y="503238"/>
                  </a:lnTo>
                  <a:lnTo>
                    <a:pt x="122238" y="412750"/>
                  </a:ln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8" y="382587"/>
                  </a:moveTo>
                  <a:cubicBezTo>
                    <a:pt x="15668" y="382587"/>
                    <a:pt x="15668" y="382587"/>
                    <a:pt x="136733" y="382587"/>
                  </a:cubicBezTo>
                  <a:cubicBezTo>
                    <a:pt x="145991" y="382587"/>
                    <a:pt x="152400" y="389675"/>
                    <a:pt x="152400" y="398182"/>
                  </a:cubicBezTo>
                  <a:cubicBezTo>
                    <a:pt x="152400" y="398182"/>
                    <a:pt x="152400" y="398182"/>
                    <a:pt x="152400" y="519393"/>
                  </a:cubicBezTo>
                  <a:cubicBezTo>
                    <a:pt x="152400" y="527899"/>
                    <a:pt x="145991" y="534987"/>
                    <a:pt x="136733" y="534987"/>
                  </a:cubicBezTo>
                  <a:cubicBezTo>
                    <a:pt x="136733" y="534987"/>
                    <a:pt x="136733" y="534987"/>
                    <a:pt x="15668" y="534987"/>
                  </a:cubicBezTo>
                  <a:cubicBezTo>
                    <a:pt x="7122" y="534987"/>
                    <a:pt x="0" y="527899"/>
                    <a:pt x="0" y="519393"/>
                  </a:cubicBezTo>
                  <a:cubicBezTo>
                    <a:pt x="0" y="519393"/>
                    <a:pt x="0" y="519393"/>
                    <a:pt x="0" y="398182"/>
                  </a:cubicBezTo>
                  <a:cubicBezTo>
                    <a:pt x="0" y="389675"/>
                    <a:pt x="7122" y="382587"/>
                    <a:pt x="15668"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rgbClr val="0082B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3152" tIns="36576" rIns="73152" bIns="36576" numCol="1" anchor="t" anchorCtr="0" compatLnSpc="1">
              <a:prstTxWarp prst="textNoShape">
                <a:avLst/>
              </a:prstTxWarp>
              <a:noAutofit/>
            </a:bodyPr>
            <a:lstStyle/>
            <a:p>
              <a:endParaRPr lang="en-US"/>
            </a:p>
          </p:txBody>
        </p:sp>
      </p:grpSp>
      <p:grpSp>
        <p:nvGrpSpPr>
          <p:cNvPr id="14" name="Group 13"/>
          <p:cNvGrpSpPr>
            <a:grpSpLocks/>
          </p:cNvGrpSpPr>
          <p:nvPr/>
        </p:nvGrpSpPr>
        <p:grpSpPr>
          <a:xfrm>
            <a:off x="2960867" y="4183787"/>
            <a:ext cx="505778" cy="491204"/>
            <a:chOff x="3150479" y="4437239"/>
            <a:chExt cx="1123950" cy="1091565"/>
          </a:xfrm>
          <a:solidFill>
            <a:schemeClr val="accent6">
              <a:lumMod val="60000"/>
              <a:lumOff val="40000"/>
            </a:schemeClr>
          </a:solidFill>
        </p:grpSpPr>
        <p:sp>
          <p:nvSpPr>
            <p:cNvPr id="121" name="Freeform 10">
              <a:extLst>
                <a:ext uri="{FF2B5EF4-FFF2-40B4-BE49-F238E27FC236}">
                  <a16:creationId xmlns:a16="http://schemas.microsoft.com/office/drawing/2014/main" id="{AB2EC424-0EAB-414A-B95D-D10A4ABF5160}"/>
                </a:ext>
              </a:extLst>
            </p:cNvPr>
            <p:cNvSpPr>
              <a:spLocks noEditPoints="1"/>
            </p:cNvSpPr>
            <p:nvPr/>
          </p:nvSpPr>
          <p:spPr bwMode="auto">
            <a:xfrm>
              <a:off x="3208772" y="4510010"/>
              <a:ext cx="1065657" cy="957072"/>
            </a:xfrm>
            <a:custGeom>
              <a:avLst/>
              <a:gdLst>
                <a:gd name="T0" fmla="*/ 263 w 1493"/>
                <a:gd name="T1" fmla="*/ 1282 h 1340"/>
                <a:gd name="T2" fmla="*/ 379 w 1493"/>
                <a:gd name="T3" fmla="*/ 1282 h 1340"/>
                <a:gd name="T4" fmla="*/ 469 w 1493"/>
                <a:gd name="T5" fmla="*/ 22 h 1340"/>
                <a:gd name="T6" fmla="*/ 195 w 1493"/>
                <a:gd name="T7" fmla="*/ 0 h 1340"/>
                <a:gd name="T8" fmla="*/ 195 w 1493"/>
                <a:gd name="T9" fmla="*/ 44 h 1340"/>
                <a:gd name="T10" fmla="*/ 469 w 1493"/>
                <a:gd name="T11" fmla="*/ 22 h 1340"/>
                <a:gd name="T12" fmla="*/ 390 w 1493"/>
                <a:gd name="T13" fmla="*/ 564 h 1340"/>
                <a:gd name="T14" fmla="*/ 368 w 1493"/>
                <a:gd name="T15" fmla="*/ 701 h 1340"/>
                <a:gd name="T16" fmla="*/ 504 w 1493"/>
                <a:gd name="T17" fmla="*/ 723 h 1340"/>
                <a:gd name="T18" fmla="*/ 526 w 1493"/>
                <a:gd name="T19" fmla="*/ 586 h 1340"/>
                <a:gd name="T20" fmla="*/ 758 w 1493"/>
                <a:gd name="T21" fmla="*/ 347 h 1340"/>
                <a:gd name="T22" fmla="*/ 578 w 1493"/>
                <a:gd name="T23" fmla="*/ 369 h 1340"/>
                <a:gd name="T24" fmla="*/ 600 w 1493"/>
                <a:gd name="T25" fmla="*/ 549 h 1340"/>
                <a:gd name="T26" fmla="*/ 780 w 1493"/>
                <a:gd name="T27" fmla="*/ 527 h 1340"/>
                <a:gd name="T28" fmla="*/ 758 w 1493"/>
                <a:gd name="T29" fmla="*/ 347 h 1340"/>
                <a:gd name="T30" fmla="*/ 570 w 1493"/>
                <a:gd name="T31" fmla="*/ 586 h 1340"/>
                <a:gd name="T32" fmla="*/ 570 w 1493"/>
                <a:gd name="T33" fmla="*/ 701 h 1340"/>
                <a:gd name="T34" fmla="*/ 390 w 1493"/>
                <a:gd name="T35" fmla="*/ 767 h 1340"/>
                <a:gd name="T36" fmla="*/ 324 w 1493"/>
                <a:gd name="T37" fmla="*/ 586 h 1340"/>
                <a:gd name="T38" fmla="*/ 504 w 1493"/>
                <a:gd name="T39" fmla="*/ 520 h 1340"/>
                <a:gd name="T40" fmla="*/ 534 w 1493"/>
                <a:gd name="T41" fmla="*/ 527 h 1340"/>
                <a:gd name="T42" fmla="*/ 600 w 1493"/>
                <a:gd name="T43" fmla="*/ 303 h 1340"/>
                <a:gd name="T44" fmla="*/ 638 w 1493"/>
                <a:gd name="T45" fmla="*/ 115 h 1340"/>
                <a:gd name="T46" fmla="*/ 10 w 1493"/>
                <a:gd name="T47" fmla="*/ 105 h 1340"/>
                <a:gd name="T48" fmla="*/ 0 w 1493"/>
                <a:gd name="T49" fmla="*/ 1092 h 1340"/>
                <a:gd name="T50" fmla="*/ 628 w 1493"/>
                <a:gd name="T51" fmla="*/ 1102 h 1340"/>
                <a:gd name="T52" fmla="*/ 638 w 1493"/>
                <a:gd name="T53" fmla="*/ 593 h 1340"/>
                <a:gd name="T54" fmla="*/ 1095 w 1493"/>
                <a:gd name="T55" fmla="*/ 105 h 1340"/>
                <a:gd name="T56" fmla="*/ 874 w 1493"/>
                <a:gd name="T57" fmla="*/ 127 h 1340"/>
                <a:gd name="T58" fmla="*/ 896 w 1493"/>
                <a:gd name="T59" fmla="*/ 348 h 1340"/>
                <a:gd name="T60" fmla="*/ 1117 w 1493"/>
                <a:gd name="T61" fmla="*/ 326 h 1340"/>
                <a:gd name="T62" fmla="*/ 1095 w 1493"/>
                <a:gd name="T63" fmla="*/ 105 h 1340"/>
                <a:gd name="T64" fmla="*/ 1493 w 1493"/>
                <a:gd name="T65" fmla="*/ 222 h 1340"/>
                <a:gd name="T66" fmla="*/ 1197 w 1493"/>
                <a:gd name="T67" fmla="*/ 200 h 1340"/>
                <a:gd name="T68" fmla="*/ 1175 w 1493"/>
                <a:gd name="T69" fmla="*/ 496 h 1340"/>
                <a:gd name="T70" fmla="*/ 1471 w 1493"/>
                <a:gd name="T71" fmla="*/ 518 h 1340"/>
                <a:gd name="T72" fmla="*/ 1117 w 1493"/>
                <a:gd name="T73" fmla="*/ 667 h 1340"/>
                <a:gd name="T74" fmla="*/ 1095 w 1493"/>
                <a:gd name="T75" fmla="*/ 409 h 1340"/>
                <a:gd name="T76" fmla="*/ 838 w 1493"/>
                <a:gd name="T77" fmla="*/ 431 h 1340"/>
                <a:gd name="T78" fmla="*/ 860 w 1493"/>
                <a:gd name="T79" fmla="*/ 689 h 1340"/>
                <a:gd name="T80" fmla="*/ 1117 w 1493"/>
                <a:gd name="T81" fmla="*/ 667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93" h="1340">
                  <a:moveTo>
                    <a:pt x="321" y="1340"/>
                  </a:moveTo>
                  <a:cubicBezTo>
                    <a:pt x="289" y="1340"/>
                    <a:pt x="263" y="1314"/>
                    <a:pt x="263" y="1282"/>
                  </a:cubicBezTo>
                  <a:cubicBezTo>
                    <a:pt x="263" y="1250"/>
                    <a:pt x="289" y="1224"/>
                    <a:pt x="321" y="1224"/>
                  </a:cubicBezTo>
                  <a:cubicBezTo>
                    <a:pt x="353" y="1224"/>
                    <a:pt x="379" y="1250"/>
                    <a:pt x="379" y="1282"/>
                  </a:cubicBezTo>
                  <a:cubicBezTo>
                    <a:pt x="379" y="1314"/>
                    <a:pt x="353" y="1340"/>
                    <a:pt x="321" y="1340"/>
                  </a:cubicBezTo>
                  <a:close/>
                  <a:moveTo>
                    <a:pt x="469" y="22"/>
                  </a:moveTo>
                  <a:cubicBezTo>
                    <a:pt x="469" y="10"/>
                    <a:pt x="459" y="0"/>
                    <a:pt x="447" y="0"/>
                  </a:cubicBezTo>
                  <a:cubicBezTo>
                    <a:pt x="195" y="0"/>
                    <a:pt x="195" y="0"/>
                    <a:pt x="195" y="0"/>
                  </a:cubicBezTo>
                  <a:cubicBezTo>
                    <a:pt x="183" y="0"/>
                    <a:pt x="173" y="10"/>
                    <a:pt x="173" y="22"/>
                  </a:cubicBezTo>
                  <a:cubicBezTo>
                    <a:pt x="173" y="34"/>
                    <a:pt x="183" y="44"/>
                    <a:pt x="195" y="44"/>
                  </a:cubicBezTo>
                  <a:cubicBezTo>
                    <a:pt x="447" y="44"/>
                    <a:pt x="447" y="44"/>
                    <a:pt x="447" y="44"/>
                  </a:cubicBezTo>
                  <a:cubicBezTo>
                    <a:pt x="459" y="44"/>
                    <a:pt x="469" y="34"/>
                    <a:pt x="469" y="22"/>
                  </a:cubicBezTo>
                  <a:close/>
                  <a:moveTo>
                    <a:pt x="504" y="564"/>
                  </a:moveTo>
                  <a:cubicBezTo>
                    <a:pt x="390" y="564"/>
                    <a:pt x="390" y="564"/>
                    <a:pt x="390" y="564"/>
                  </a:cubicBezTo>
                  <a:cubicBezTo>
                    <a:pt x="377" y="564"/>
                    <a:pt x="368" y="574"/>
                    <a:pt x="368" y="586"/>
                  </a:cubicBezTo>
                  <a:cubicBezTo>
                    <a:pt x="368" y="701"/>
                    <a:pt x="368" y="701"/>
                    <a:pt x="368" y="701"/>
                  </a:cubicBezTo>
                  <a:cubicBezTo>
                    <a:pt x="368" y="713"/>
                    <a:pt x="377" y="723"/>
                    <a:pt x="390" y="723"/>
                  </a:cubicBezTo>
                  <a:cubicBezTo>
                    <a:pt x="504" y="723"/>
                    <a:pt x="504" y="723"/>
                    <a:pt x="504" y="723"/>
                  </a:cubicBezTo>
                  <a:cubicBezTo>
                    <a:pt x="516" y="723"/>
                    <a:pt x="526" y="713"/>
                    <a:pt x="526" y="701"/>
                  </a:cubicBezTo>
                  <a:cubicBezTo>
                    <a:pt x="526" y="586"/>
                    <a:pt x="526" y="586"/>
                    <a:pt x="526" y="586"/>
                  </a:cubicBezTo>
                  <a:cubicBezTo>
                    <a:pt x="526" y="574"/>
                    <a:pt x="516" y="564"/>
                    <a:pt x="504" y="564"/>
                  </a:cubicBezTo>
                  <a:moveTo>
                    <a:pt x="758" y="347"/>
                  </a:moveTo>
                  <a:cubicBezTo>
                    <a:pt x="600" y="347"/>
                    <a:pt x="600" y="347"/>
                    <a:pt x="600" y="347"/>
                  </a:cubicBezTo>
                  <a:cubicBezTo>
                    <a:pt x="588" y="347"/>
                    <a:pt x="578" y="357"/>
                    <a:pt x="578" y="369"/>
                  </a:cubicBezTo>
                  <a:cubicBezTo>
                    <a:pt x="578" y="527"/>
                    <a:pt x="578" y="527"/>
                    <a:pt x="578" y="527"/>
                  </a:cubicBezTo>
                  <a:cubicBezTo>
                    <a:pt x="578" y="539"/>
                    <a:pt x="588" y="549"/>
                    <a:pt x="600" y="549"/>
                  </a:cubicBezTo>
                  <a:cubicBezTo>
                    <a:pt x="758" y="549"/>
                    <a:pt x="758" y="549"/>
                    <a:pt x="758" y="549"/>
                  </a:cubicBezTo>
                  <a:cubicBezTo>
                    <a:pt x="770" y="549"/>
                    <a:pt x="780" y="539"/>
                    <a:pt x="780" y="527"/>
                  </a:cubicBezTo>
                  <a:cubicBezTo>
                    <a:pt x="780" y="369"/>
                    <a:pt x="780" y="369"/>
                    <a:pt x="780" y="369"/>
                  </a:cubicBezTo>
                  <a:cubicBezTo>
                    <a:pt x="780" y="357"/>
                    <a:pt x="770" y="347"/>
                    <a:pt x="758" y="347"/>
                  </a:cubicBezTo>
                  <a:moveTo>
                    <a:pt x="600" y="593"/>
                  </a:moveTo>
                  <a:cubicBezTo>
                    <a:pt x="589" y="593"/>
                    <a:pt x="579" y="590"/>
                    <a:pt x="570" y="586"/>
                  </a:cubicBezTo>
                  <a:cubicBezTo>
                    <a:pt x="570" y="586"/>
                    <a:pt x="570" y="586"/>
                    <a:pt x="570" y="586"/>
                  </a:cubicBezTo>
                  <a:cubicBezTo>
                    <a:pt x="570" y="701"/>
                    <a:pt x="570" y="701"/>
                    <a:pt x="570" y="701"/>
                  </a:cubicBezTo>
                  <a:cubicBezTo>
                    <a:pt x="570" y="737"/>
                    <a:pt x="541" y="767"/>
                    <a:pt x="504" y="767"/>
                  </a:cubicBezTo>
                  <a:cubicBezTo>
                    <a:pt x="390" y="767"/>
                    <a:pt x="390" y="767"/>
                    <a:pt x="390" y="767"/>
                  </a:cubicBezTo>
                  <a:cubicBezTo>
                    <a:pt x="353" y="767"/>
                    <a:pt x="324" y="737"/>
                    <a:pt x="324" y="701"/>
                  </a:cubicBezTo>
                  <a:cubicBezTo>
                    <a:pt x="324" y="586"/>
                    <a:pt x="324" y="586"/>
                    <a:pt x="324" y="586"/>
                  </a:cubicBezTo>
                  <a:cubicBezTo>
                    <a:pt x="324" y="550"/>
                    <a:pt x="353" y="520"/>
                    <a:pt x="390" y="520"/>
                  </a:cubicBezTo>
                  <a:cubicBezTo>
                    <a:pt x="504" y="520"/>
                    <a:pt x="504" y="520"/>
                    <a:pt x="504" y="520"/>
                  </a:cubicBezTo>
                  <a:cubicBezTo>
                    <a:pt x="515" y="520"/>
                    <a:pt x="525" y="523"/>
                    <a:pt x="534" y="528"/>
                  </a:cubicBezTo>
                  <a:cubicBezTo>
                    <a:pt x="534" y="527"/>
                    <a:pt x="534" y="527"/>
                    <a:pt x="534" y="527"/>
                  </a:cubicBezTo>
                  <a:cubicBezTo>
                    <a:pt x="534" y="369"/>
                    <a:pt x="534" y="369"/>
                    <a:pt x="534" y="369"/>
                  </a:cubicBezTo>
                  <a:cubicBezTo>
                    <a:pt x="534" y="333"/>
                    <a:pt x="564" y="303"/>
                    <a:pt x="600" y="303"/>
                  </a:cubicBezTo>
                  <a:cubicBezTo>
                    <a:pt x="638" y="303"/>
                    <a:pt x="638" y="303"/>
                    <a:pt x="638" y="303"/>
                  </a:cubicBezTo>
                  <a:cubicBezTo>
                    <a:pt x="638" y="115"/>
                    <a:pt x="638" y="115"/>
                    <a:pt x="638" y="115"/>
                  </a:cubicBezTo>
                  <a:cubicBezTo>
                    <a:pt x="638" y="110"/>
                    <a:pt x="634" y="105"/>
                    <a:pt x="628" y="105"/>
                  </a:cubicBezTo>
                  <a:cubicBezTo>
                    <a:pt x="10" y="105"/>
                    <a:pt x="10" y="105"/>
                    <a:pt x="10" y="105"/>
                  </a:cubicBezTo>
                  <a:cubicBezTo>
                    <a:pt x="4" y="105"/>
                    <a:pt x="0" y="110"/>
                    <a:pt x="0" y="115"/>
                  </a:cubicBezTo>
                  <a:cubicBezTo>
                    <a:pt x="0" y="1092"/>
                    <a:pt x="0" y="1092"/>
                    <a:pt x="0" y="1092"/>
                  </a:cubicBezTo>
                  <a:cubicBezTo>
                    <a:pt x="0" y="1098"/>
                    <a:pt x="4" y="1102"/>
                    <a:pt x="10" y="1102"/>
                  </a:cubicBezTo>
                  <a:cubicBezTo>
                    <a:pt x="628" y="1102"/>
                    <a:pt x="628" y="1102"/>
                    <a:pt x="628" y="1102"/>
                  </a:cubicBezTo>
                  <a:cubicBezTo>
                    <a:pt x="634" y="1102"/>
                    <a:pt x="638" y="1098"/>
                    <a:pt x="638" y="1092"/>
                  </a:cubicBezTo>
                  <a:cubicBezTo>
                    <a:pt x="638" y="593"/>
                    <a:pt x="638" y="593"/>
                    <a:pt x="638" y="593"/>
                  </a:cubicBezTo>
                  <a:lnTo>
                    <a:pt x="600" y="593"/>
                  </a:lnTo>
                  <a:close/>
                  <a:moveTo>
                    <a:pt x="1095" y="105"/>
                  </a:moveTo>
                  <a:cubicBezTo>
                    <a:pt x="896" y="105"/>
                    <a:pt x="896" y="105"/>
                    <a:pt x="896" y="105"/>
                  </a:cubicBezTo>
                  <a:cubicBezTo>
                    <a:pt x="884" y="105"/>
                    <a:pt x="874" y="115"/>
                    <a:pt x="874" y="127"/>
                  </a:cubicBezTo>
                  <a:cubicBezTo>
                    <a:pt x="874" y="326"/>
                    <a:pt x="874" y="326"/>
                    <a:pt x="874" y="326"/>
                  </a:cubicBezTo>
                  <a:cubicBezTo>
                    <a:pt x="874" y="338"/>
                    <a:pt x="884" y="348"/>
                    <a:pt x="896" y="348"/>
                  </a:cubicBezTo>
                  <a:cubicBezTo>
                    <a:pt x="1095" y="348"/>
                    <a:pt x="1095" y="348"/>
                    <a:pt x="1095" y="348"/>
                  </a:cubicBezTo>
                  <a:cubicBezTo>
                    <a:pt x="1107" y="348"/>
                    <a:pt x="1117" y="338"/>
                    <a:pt x="1117" y="326"/>
                  </a:cubicBezTo>
                  <a:cubicBezTo>
                    <a:pt x="1117" y="127"/>
                    <a:pt x="1117" y="127"/>
                    <a:pt x="1117" y="127"/>
                  </a:cubicBezTo>
                  <a:cubicBezTo>
                    <a:pt x="1117" y="115"/>
                    <a:pt x="1107" y="105"/>
                    <a:pt x="1095" y="105"/>
                  </a:cubicBezTo>
                  <a:moveTo>
                    <a:pt x="1493" y="496"/>
                  </a:moveTo>
                  <a:cubicBezTo>
                    <a:pt x="1493" y="222"/>
                    <a:pt x="1493" y="222"/>
                    <a:pt x="1493" y="222"/>
                  </a:cubicBezTo>
                  <a:cubicBezTo>
                    <a:pt x="1493" y="210"/>
                    <a:pt x="1483" y="200"/>
                    <a:pt x="1471" y="200"/>
                  </a:cubicBezTo>
                  <a:cubicBezTo>
                    <a:pt x="1197" y="200"/>
                    <a:pt x="1197" y="200"/>
                    <a:pt x="1197" y="200"/>
                  </a:cubicBezTo>
                  <a:cubicBezTo>
                    <a:pt x="1185" y="200"/>
                    <a:pt x="1175" y="210"/>
                    <a:pt x="1175" y="222"/>
                  </a:cubicBezTo>
                  <a:cubicBezTo>
                    <a:pt x="1175" y="496"/>
                    <a:pt x="1175" y="496"/>
                    <a:pt x="1175" y="496"/>
                  </a:cubicBezTo>
                  <a:cubicBezTo>
                    <a:pt x="1175" y="508"/>
                    <a:pt x="1185" y="518"/>
                    <a:pt x="1197" y="518"/>
                  </a:cubicBezTo>
                  <a:cubicBezTo>
                    <a:pt x="1471" y="518"/>
                    <a:pt x="1471" y="518"/>
                    <a:pt x="1471" y="518"/>
                  </a:cubicBezTo>
                  <a:cubicBezTo>
                    <a:pt x="1483" y="518"/>
                    <a:pt x="1493" y="508"/>
                    <a:pt x="1493" y="496"/>
                  </a:cubicBezTo>
                  <a:close/>
                  <a:moveTo>
                    <a:pt x="1117" y="667"/>
                  </a:moveTo>
                  <a:cubicBezTo>
                    <a:pt x="1117" y="431"/>
                    <a:pt x="1117" y="431"/>
                    <a:pt x="1117" y="431"/>
                  </a:cubicBezTo>
                  <a:cubicBezTo>
                    <a:pt x="1117" y="419"/>
                    <a:pt x="1107" y="409"/>
                    <a:pt x="1095" y="409"/>
                  </a:cubicBezTo>
                  <a:cubicBezTo>
                    <a:pt x="860" y="409"/>
                    <a:pt x="860" y="409"/>
                    <a:pt x="860" y="409"/>
                  </a:cubicBezTo>
                  <a:cubicBezTo>
                    <a:pt x="848" y="409"/>
                    <a:pt x="838" y="419"/>
                    <a:pt x="838" y="431"/>
                  </a:cubicBezTo>
                  <a:cubicBezTo>
                    <a:pt x="838" y="667"/>
                    <a:pt x="838" y="667"/>
                    <a:pt x="838" y="667"/>
                  </a:cubicBezTo>
                  <a:cubicBezTo>
                    <a:pt x="838" y="679"/>
                    <a:pt x="848" y="689"/>
                    <a:pt x="860" y="689"/>
                  </a:cubicBezTo>
                  <a:cubicBezTo>
                    <a:pt x="1095" y="689"/>
                    <a:pt x="1095" y="689"/>
                    <a:pt x="1095" y="689"/>
                  </a:cubicBezTo>
                  <a:cubicBezTo>
                    <a:pt x="1107" y="689"/>
                    <a:pt x="1117" y="679"/>
                    <a:pt x="1117" y="667"/>
                  </a:cubicBezTo>
                  <a:close/>
                </a:path>
              </a:pathLst>
            </a:custGeom>
            <a:solidFill>
              <a:srgbClr val="00AEE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1148" tIns="20574" rIns="41148" bIns="20574" numCol="1" anchor="t" anchorCtr="0" compatLnSpc="1">
              <a:prstTxWarp prst="textNoShape">
                <a:avLst/>
              </a:prstTxWarp>
            </a:bodyPr>
            <a:lstStyle/>
            <a:p>
              <a:endParaRPr lang="en-US"/>
            </a:p>
          </p:txBody>
        </p:sp>
        <p:sp>
          <p:nvSpPr>
            <p:cNvPr id="122" name="Freeform 11">
              <a:extLst>
                <a:ext uri="{FF2B5EF4-FFF2-40B4-BE49-F238E27FC236}">
                  <a16:creationId xmlns:a16="http://schemas.microsoft.com/office/drawing/2014/main" id="{55C50C4B-BED9-4109-A55B-C7995AB6DFC4}"/>
                </a:ext>
              </a:extLst>
            </p:cNvPr>
            <p:cNvSpPr>
              <a:spLocks noEditPoints="1"/>
            </p:cNvSpPr>
            <p:nvPr/>
          </p:nvSpPr>
          <p:spPr bwMode="auto">
            <a:xfrm>
              <a:off x="3150479" y="4437239"/>
              <a:ext cx="574929" cy="1091565"/>
            </a:xfrm>
            <a:custGeom>
              <a:avLst/>
              <a:gdLst>
                <a:gd name="T0" fmla="*/ 762 w 806"/>
                <a:gd name="T1" fmla="*/ 695 h 1528"/>
                <a:gd name="T2" fmla="*/ 762 w 806"/>
                <a:gd name="T3" fmla="*/ 1252 h 1528"/>
                <a:gd name="T4" fmla="*/ 44 w 806"/>
                <a:gd name="T5" fmla="*/ 1252 h 1528"/>
                <a:gd name="T6" fmla="*/ 44 w 806"/>
                <a:gd name="T7" fmla="*/ 44 h 1528"/>
                <a:gd name="T8" fmla="*/ 762 w 806"/>
                <a:gd name="T9" fmla="*/ 44 h 1528"/>
                <a:gd name="T10" fmla="*/ 762 w 806"/>
                <a:gd name="T11" fmla="*/ 405 h 1528"/>
                <a:gd name="T12" fmla="*/ 806 w 806"/>
                <a:gd name="T13" fmla="*/ 405 h 1528"/>
                <a:gd name="T14" fmla="*/ 806 w 806"/>
                <a:gd name="T15" fmla="*/ 22 h 1528"/>
                <a:gd name="T16" fmla="*/ 784 w 806"/>
                <a:gd name="T17" fmla="*/ 0 h 1528"/>
                <a:gd name="T18" fmla="*/ 22 w 806"/>
                <a:gd name="T19" fmla="*/ 0 h 1528"/>
                <a:gd name="T20" fmla="*/ 0 w 806"/>
                <a:gd name="T21" fmla="*/ 22 h 1528"/>
                <a:gd name="T22" fmla="*/ 0 w 806"/>
                <a:gd name="T23" fmla="*/ 1252 h 1528"/>
                <a:gd name="T24" fmla="*/ 0 w 806"/>
                <a:gd name="T25" fmla="*/ 1296 h 1528"/>
                <a:gd name="T26" fmla="*/ 0 w 806"/>
                <a:gd name="T27" fmla="*/ 1506 h 1528"/>
                <a:gd name="T28" fmla="*/ 22 w 806"/>
                <a:gd name="T29" fmla="*/ 1528 h 1528"/>
                <a:gd name="T30" fmla="*/ 784 w 806"/>
                <a:gd name="T31" fmla="*/ 1528 h 1528"/>
                <a:gd name="T32" fmla="*/ 806 w 806"/>
                <a:gd name="T33" fmla="*/ 1506 h 1528"/>
                <a:gd name="T34" fmla="*/ 806 w 806"/>
                <a:gd name="T35" fmla="*/ 1296 h 1528"/>
                <a:gd name="T36" fmla="*/ 806 w 806"/>
                <a:gd name="T37" fmla="*/ 1252 h 1528"/>
                <a:gd name="T38" fmla="*/ 806 w 806"/>
                <a:gd name="T39" fmla="*/ 695 h 1528"/>
                <a:gd name="T40" fmla="*/ 762 w 806"/>
                <a:gd name="T41" fmla="*/ 695 h 1528"/>
                <a:gd name="T42" fmla="*/ 762 w 806"/>
                <a:gd name="T43" fmla="*/ 1484 h 1528"/>
                <a:gd name="T44" fmla="*/ 44 w 806"/>
                <a:gd name="T45" fmla="*/ 1484 h 1528"/>
                <a:gd name="T46" fmla="*/ 44 w 806"/>
                <a:gd name="T47" fmla="*/ 1296 h 1528"/>
                <a:gd name="T48" fmla="*/ 762 w 806"/>
                <a:gd name="T49" fmla="*/ 1296 h 1528"/>
                <a:gd name="T50" fmla="*/ 762 w 806"/>
                <a:gd name="T51" fmla="*/ 1484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6" h="1528">
                  <a:moveTo>
                    <a:pt x="762" y="695"/>
                  </a:moveTo>
                  <a:cubicBezTo>
                    <a:pt x="762" y="1252"/>
                    <a:pt x="762" y="1252"/>
                    <a:pt x="762" y="1252"/>
                  </a:cubicBezTo>
                  <a:cubicBezTo>
                    <a:pt x="44" y="1252"/>
                    <a:pt x="44" y="1252"/>
                    <a:pt x="44" y="1252"/>
                  </a:cubicBezTo>
                  <a:cubicBezTo>
                    <a:pt x="44" y="44"/>
                    <a:pt x="44" y="44"/>
                    <a:pt x="44" y="44"/>
                  </a:cubicBezTo>
                  <a:cubicBezTo>
                    <a:pt x="762" y="44"/>
                    <a:pt x="762" y="44"/>
                    <a:pt x="762" y="44"/>
                  </a:cubicBezTo>
                  <a:cubicBezTo>
                    <a:pt x="762" y="405"/>
                    <a:pt x="762" y="405"/>
                    <a:pt x="762" y="405"/>
                  </a:cubicBezTo>
                  <a:cubicBezTo>
                    <a:pt x="806" y="405"/>
                    <a:pt x="806" y="405"/>
                    <a:pt x="806" y="405"/>
                  </a:cubicBezTo>
                  <a:cubicBezTo>
                    <a:pt x="806" y="22"/>
                    <a:pt x="806" y="22"/>
                    <a:pt x="806" y="22"/>
                  </a:cubicBezTo>
                  <a:cubicBezTo>
                    <a:pt x="806" y="10"/>
                    <a:pt x="796" y="0"/>
                    <a:pt x="784" y="0"/>
                  </a:cubicBezTo>
                  <a:cubicBezTo>
                    <a:pt x="22" y="0"/>
                    <a:pt x="22" y="0"/>
                    <a:pt x="22" y="0"/>
                  </a:cubicBezTo>
                  <a:cubicBezTo>
                    <a:pt x="10" y="0"/>
                    <a:pt x="0" y="10"/>
                    <a:pt x="0" y="22"/>
                  </a:cubicBezTo>
                  <a:cubicBezTo>
                    <a:pt x="0" y="1252"/>
                    <a:pt x="0" y="1252"/>
                    <a:pt x="0" y="1252"/>
                  </a:cubicBezTo>
                  <a:cubicBezTo>
                    <a:pt x="0" y="1296"/>
                    <a:pt x="0" y="1296"/>
                    <a:pt x="0" y="1296"/>
                  </a:cubicBezTo>
                  <a:cubicBezTo>
                    <a:pt x="0" y="1506"/>
                    <a:pt x="0" y="1506"/>
                    <a:pt x="0" y="1506"/>
                  </a:cubicBezTo>
                  <a:cubicBezTo>
                    <a:pt x="0" y="1518"/>
                    <a:pt x="10" y="1528"/>
                    <a:pt x="22" y="1528"/>
                  </a:cubicBezTo>
                  <a:cubicBezTo>
                    <a:pt x="784" y="1528"/>
                    <a:pt x="784" y="1528"/>
                    <a:pt x="784" y="1528"/>
                  </a:cubicBezTo>
                  <a:cubicBezTo>
                    <a:pt x="796" y="1528"/>
                    <a:pt x="806" y="1518"/>
                    <a:pt x="806" y="1506"/>
                  </a:cubicBezTo>
                  <a:cubicBezTo>
                    <a:pt x="806" y="1296"/>
                    <a:pt x="806" y="1296"/>
                    <a:pt x="806" y="1296"/>
                  </a:cubicBezTo>
                  <a:cubicBezTo>
                    <a:pt x="806" y="1252"/>
                    <a:pt x="806" y="1252"/>
                    <a:pt x="806" y="1252"/>
                  </a:cubicBezTo>
                  <a:cubicBezTo>
                    <a:pt x="806" y="695"/>
                    <a:pt x="806" y="695"/>
                    <a:pt x="806" y="695"/>
                  </a:cubicBezTo>
                  <a:lnTo>
                    <a:pt x="762" y="695"/>
                  </a:lnTo>
                  <a:close/>
                  <a:moveTo>
                    <a:pt x="762" y="1484"/>
                  </a:moveTo>
                  <a:cubicBezTo>
                    <a:pt x="44" y="1484"/>
                    <a:pt x="44" y="1484"/>
                    <a:pt x="44" y="1484"/>
                  </a:cubicBezTo>
                  <a:cubicBezTo>
                    <a:pt x="44" y="1296"/>
                    <a:pt x="44" y="1296"/>
                    <a:pt x="44" y="1296"/>
                  </a:cubicBezTo>
                  <a:cubicBezTo>
                    <a:pt x="762" y="1296"/>
                    <a:pt x="762" y="1296"/>
                    <a:pt x="762" y="1296"/>
                  </a:cubicBezTo>
                  <a:lnTo>
                    <a:pt x="762" y="1484"/>
                  </a:lnTo>
                  <a:close/>
                </a:path>
              </a:pathLst>
            </a:custGeom>
            <a:solidFill>
              <a:srgbClr val="00AEE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41148" tIns="20574" rIns="41148" bIns="20574" numCol="1" anchor="t" anchorCtr="0" compatLnSpc="1">
              <a:prstTxWarp prst="textNoShape">
                <a:avLst/>
              </a:prstTxWarp>
            </a:bodyPr>
            <a:lstStyle/>
            <a:p>
              <a:endParaRPr lang="en-US"/>
            </a:p>
          </p:txBody>
        </p:sp>
      </p:grpSp>
      <p:sp>
        <p:nvSpPr>
          <p:cNvPr id="123" name="TextBox 122"/>
          <p:cNvSpPr txBox="1"/>
          <p:nvPr/>
        </p:nvSpPr>
        <p:spPr>
          <a:xfrm>
            <a:off x="3130430" y="2014545"/>
            <a:ext cx="4974873" cy="430887"/>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24000" lvl="1" indent="-216000">
              <a:buClr>
                <a:schemeClr val="accent1"/>
              </a:buClr>
              <a:buSzPct val="100000"/>
              <a:buFont typeface="Trebuchet MS" panose="020B0603020202020204" pitchFamily="34" charset="0"/>
              <a:buChar char="•"/>
            </a:pPr>
            <a:r>
              <a:rPr lang="en-US" sz="1400" u="sng">
                <a:solidFill>
                  <a:schemeClr val="bg1">
                    <a:lumMod val="50000"/>
                  </a:schemeClr>
                </a:solidFill>
                <a:latin typeface="+mj-lt"/>
              </a:rPr>
              <a:t>Local</a:t>
            </a:r>
            <a:r>
              <a:rPr lang="en-US" sz="1400">
                <a:solidFill>
                  <a:schemeClr val="bg1">
                    <a:lumMod val="50000"/>
                  </a:schemeClr>
                </a:solidFill>
                <a:latin typeface="+mj-lt"/>
              </a:rPr>
              <a:t> digital teaching &amp; learning materials, assessments</a:t>
            </a:r>
          </a:p>
          <a:p>
            <a:pPr marL="324000" lvl="1" indent="-216000">
              <a:buClr>
                <a:schemeClr val="accent1"/>
              </a:buClr>
              <a:buSzPct val="100000"/>
              <a:buFont typeface="Trebuchet MS" panose="020B0603020202020204" pitchFamily="34" charset="0"/>
              <a:buChar char="•"/>
            </a:pPr>
            <a:r>
              <a:rPr lang="en-US" sz="1400" u="sng">
                <a:solidFill>
                  <a:schemeClr val="bg1">
                    <a:lumMod val="50000"/>
                  </a:schemeClr>
                </a:solidFill>
                <a:latin typeface="+mj-lt"/>
              </a:rPr>
              <a:t>Global</a:t>
            </a:r>
            <a:r>
              <a:rPr lang="en-US" sz="1400">
                <a:solidFill>
                  <a:schemeClr val="bg1">
                    <a:lumMod val="50000"/>
                  </a:schemeClr>
                </a:solidFill>
                <a:latin typeface="+mj-lt"/>
              </a:rPr>
              <a:t> supplementary materials available as needed</a:t>
            </a:r>
          </a:p>
        </p:txBody>
      </p:sp>
      <p:sp>
        <p:nvSpPr>
          <p:cNvPr id="124" name="TextBox 123"/>
          <p:cNvSpPr txBox="1"/>
          <p:nvPr/>
        </p:nvSpPr>
        <p:spPr>
          <a:xfrm>
            <a:off x="4138096" y="3060176"/>
            <a:ext cx="4974873" cy="430887"/>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24000" lvl="1" indent="-216000">
              <a:buClr>
                <a:srgbClr val="0078A2"/>
              </a:buClr>
              <a:buSzPct val="100000"/>
              <a:buFont typeface="Trebuchet MS" panose="020B0603020202020204" pitchFamily="34" charset="0"/>
              <a:buChar char="•"/>
            </a:pPr>
            <a:r>
              <a:rPr lang="en-US" sz="1400">
                <a:solidFill>
                  <a:schemeClr val="bg1">
                    <a:lumMod val="50000"/>
                  </a:schemeClr>
                </a:solidFill>
                <a:latin typeface="+mj-lt"/>
              </a:rPr>
              <a:t>E.g., Math: grade 3, Literacy: grade 1</a:t>
            </a:r>
          </a:p>
          <a:p>
            <a:pPr marL="108000" lvl="1">
              <a:buClr>
                <a:srgbClr val="0078A2"/>
              </a:buClr>
              <a:buSzPct val="100000"/>
            </a:pPr>
            <a:r>
              <a:rPr lang="en-US" sz="1400">
                <a:solidFill>
                  <a:schemeClr val="bg1">
                    <a:lumMod val="50000"/>
                  </a:schemeClr>
                </a:solidFill>
                <a:latin typeface="+mj-lt"/>
              </a:rPr>
              <a:t>             Science: grade 2, English: grade 3</a:t>
            </a:r>
          </a:p>
        </p:txBody>
      </p:sp>
      <p:sp>
        <p:nvSpPr>
          <p:cNvPr id="125" name="TextBox 124"/>
          <p:cNvSpPr txBox="1"/>
          <p:nvPr/>
        </p:nvSpPr>
        <p:spPr>
          <a:xfrm>
            <a:off x="5475683" y="4107781"/>
            <a:ext cx="3168588" cy="646331"/>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24000" lvl="1" indent="-216000">
              <a:buClr>
                <a:srgbClr val="00B0F0"/>
              </a:buClr>
              <a:buSzPct val="100000"/>
              <a:buFont typeface="Trebuchet MS" panose="020B0603020202020204" pitchFamily="34" charset="0"/>
              <a:buChar char="•"/>
            </a:pPr>
            <a:r>
              <a:rPr lang="en-US" sz="1400">
                <a:solidFill>
                  <a:schemeClr val="bg1">
                    <a:lumMod val="50000"/>
                  </a:schemeClr>
                </a:solidFill>
                <a:latin typeface="+mj-lt"/>
              </a:rPr>
              <a:t>Digital record of learning</a:t>
            </a:r>
          </a:p>
          <a:p>
            <a:pPr marL="324000" lvl="1" indent="-216000">
              <a:buClr>
                <a:srgbClr val="00B0F0"/>
              </a:buClr>
              <a:buSzPct val="100000"/>
              <a:buFont typeface="Trebuchet MS" panose="020B0603020202020204" pitchFamily="34" charset="0"/>
              <a:buChar char="•"/>
            </a:pPr>
            <a:r>
              <a:rPr lang="en-US" sz="1400">
                <a:solidFill>
                  <a:schemeClr val="bg1">
                    <a:lumMod val="50000"/>
                  </a:schemeClr>
                </a:solidFill>
                <a:latin typeface="+mj-lt"/>
              </a:rPr>
              <a:t>Teacher &amp; learner interface</a:t>
            </a:r>
          </a:p>
          <a:p>
            <a:pPr marL="324000" lvl="1" indent="-216000">
              <a:buClr>
                <a:srgbClr val="00B0F0"/>
              </a:buClr>
              <a:buSzPct val="100000"/>
              <a:buFont typeface="Trebuchet MS" panose="020B0603020202020204" pitchFamily="34" charset="0"/>
              <a:buChar char="•"/>
            </a:pPr>
            <a:r>
              <a:rPr lang="en-US" sz="1400">
                <a:solidFill>
                  <a:schemeClr val="bg1">
                    <a:lumMod val="50000"/>
                  </a:schemeClr>
                </a:solidFill>
                <a:latin typeface="+mj-lt"/>
              </a:rPr>
              <a:t>Available online &amp; offline</a:t>
            </a:r>
          </a:p>
        </p:txBody>
      </p:sp>
      <p:sp>
        <p:nvSpPr>
          <p:cNvPr id="126" name="TextBox 125"/>
          <p:cNvSpPr txBox="1"/>
          <p:nvPr/>
        </p:nvSpPr>
        <p:spPr>
          <a:xfrm>
            <a:off x="6263741" y="5352591"/>
            <a:ext cx="2380529" cy="646331"/>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24000" lvl="1" indent="-216000">
              <a:buClr>
                <a:schemeClr val="tx2">
                  <a:lumMod val="20000"/>
                  <a:lumOff val="80000"/>
                </a:schemeClr>
              </a:buClr>
              <a:buSzPct val="100000"/>
              <a:buFont typeface="Trebuchet MS" panose="020B0603020202020204" pitchFamily="34" charset="0"/>
              <a:buChar char="•"/>
            </a:pPr>
            <a:r>
              <a:rPr lang="fr-FR" sz="1400">
                <a:solidFill>
                  <a:schemeClr val="bg1">
                    <a:lumMod val="50000"/>
                  </a:schemeClr>
                </a:solidFill>
                <a:latin typeface="+mj-lt"/>
              </a:rPr>
              <a:t>Psychosocial support</a:t>
            </a:r>
          </a:p>
          <a:p>
            <a:pPr marL="324000" lvl="1" indent="-216000">
              <a:buClr>
                <a:schemeClr val="tx2">
                  <a:lumMod val="20000"/>
                  <a:lumOff val="80000"/>
                </a:schemeClr>
              </a:buClr>
              <a:buSzPct val="100000"/>
              <a:buFont typeface="Trebuchet MS" panose="020B0603020202020204" pitchFamily="34" charset="0"/>
              <a:buChar char="•"/>
            </a:pPr>
            <a:r>
              <a:rPr lang="fr-FR" sz="1400">
                <a:solidFill>
                  <a:schemeClr val="bg1">
                    <a:lumMod val="50000"/>
                  </a:schemeClr>
                </a:solidFill>
                <a:latin typeface="+mj-lt"/>
              </a:rPr>
              <a:t>SEL support system</a:t>
            </a:r>
          </a:p>
          <a:p>
            <a:pPr marL="324000" lvl="1" indent="-216000">
              <a:buClr>
                <a:schemeClr val="tx2">
                  <a:lumMod val="20000"/>
                  <a:lumOff val="80000"/>
                </a:schemeClr>
              </a:buClr>
              <a:buSzPct val="100000"/>
              <a:buFont typeface="Trebuchet MS" panose="020B0603020202020204" pitchFamily="34" charset="0"/>
              <a:buChar char="•"/>
            </a:pPr>
            <a:r>
              <a:rPr lang="fr-FR" sz="1400">
                <a:solidFill>
                  <a:schemeClr val="bg1">
                    <a:lumMod val="50000"/>
                  </a:schemeClr>
                </a:solidFill>
                <a:latin typeface="+mj-lt"/>
              </a:rPr>
              <a:t>Peer support</a:t>
            </a:r>
          </a:p>
        </p:txBody>
      </p:sp>
      <p:sp>
        <p:nvSpPr>
          <p:cNvPr id="137" name="Freeform 136"/>
          <p:cNvSpPr>
            <a:spLocks noEditPoints="1"/>
          </p:cNvSpPr>
          <p:nvPr/>
        </p:nvSpPr>
        <p:spPr bwMode="auto">
          <a:xfrm>
            <a:off x="3812261" y="5474642"/>
            <a:ext cx="338319" cy="402676"/>
          </a:xfrm>
          <a:custGeom>
            <a:avLst/>
            <a:gdLst>
              <a:gd name="T0" fmla="*/ 549 w 740"/>
              <a:gd name="T1" fmla="*/ 772 h 880"/>
              <a:gd name="T2" fmla="*/ 443 w 740"/>
              <a:gd name="T3" fmla="*/ 880 h 880"/>
              <a:gd name="T4" fmla="*/ 391 w 740"/>
              <a:gd name="T5" fmla="*/ 377 h 880"/>
              <a:gd name="T6" fmla="*/ 548 w 740"/>
              <a:gd name="T7" fmla="*/ 280 h 880"/>
              <a:gd name="T8" fmla="*/ 562 w 740"/>
              <a:gd name="T9" fmla="*/ 238 h 880"/>
              <a:gd name="T10" fmla="*/ 391 w 740"/>
              <a:gd name="T11" fmla="*/ 39 h 880"/>
              <a:gd name="T12" fmla="*/ 593 w 740"/>
              <a:gd name="T13" fmla="*/ 104 h 880"/>
              <a:gd name="T14" fmla="*/ 472 w 740"/>
              <a:gd name="T15" fmla="*/ 129 h 880"/>
              <a:gd name="T16" fmla="*/ 494 w 740"/>
              <a:gd name="T17" fmla="*/ 167 h 880"/>
              <a:gd name="T18" fmla="*/ 727 w 740"/>
              <a:gd name="T19" fmla="*/ 303 h 880"/>
              <a:gd name="T20" fmla="*/ 592 w 740"/>
              <a:gd name="T21" fmla="*/ 415 h 880"/>
              <a:gd name="T22" fmla="*/ 548 w 740"/>
              <a:gd name="T23" fmla="*/ 421 h 880"/>
              <a:gd name="T24" fmla="*/ 465 w 740"/>
              <a:gd name="T25" fmla="*/ 529 h 880"/>
              <a:gd name="T26" fmla="*/ 468 w 740"/>
              <a:gd name="T27" fmla="*/ 572 h 880"/>
              <a:gd name="T28" fmla="*/ 574 w 740"/>
              <a:gd name="T29" fmla="*/ 503 h 880"/>
              <a:gd name="T30" fmla="*/ 740 w 740"/>
              <a:gd name="T31" fmla="*/ 532 h 880"/>
              <a:gd name="T32" fmla="*/ 549 w 740"/>
              <a:gd name="T33" fmla="*/ 728 h 880"/>
              <a:gd name="T34" fmla="*/ 189 w 740"/>
              <a:gd name="T35" fmla="*/ 580 h 880"/>
              <a:gd name="T36" fmla="*/ 344 w 740"/>
              <a:gd name="T37" fmla="*/ 489 h 880"/>
              <a:gd name="T38" fmla="*/ 259 w 740"/>
              <a:gd name="T39" fmla="*/ 0 h 880"/>
              <a:gd name="T40" fmla="*/ 153 w 740"/>
              <a:gd name="T41" fmla="*/ 90 h 880"/>
              <a:gd name="T42" fmla="*/ 260 w 740"/>
              <a:gd name="T43" fmla="*/ 146 h 880"/>
              <a:gd name="T44" fmla="*/ 153 w 740"/>
              <a:gd name="T45" fmla="*/ 134 h 880"/>
              <a:gd name="T46" fmla="*/ 0 w 740"/>
              <a:gd name="T47" fmla="*/ 305 h 880"/>
              <a:gd name="T48" fmla="*/ 111 w 740"/>
              <a:gd name="T49" fmla="*/ 313 h 880"/>
              <a:gd name="T50" fmla="*/ 164 w 740"/>
              <a:gd name="T51" fmla="*/ 246 h 880"/>
              <a:gd name="T52" fmla="*/ 157 w 740"/>
              <a:gd name="T53" fmla="*/ 349 h 880"/>
              <a:gd name="T54" fmla="*/ 205 w 740"/>
              <a:gd name="T55" fmla="*/ 440 h 880"/>
              <a:gd name="T56" fmla="*/ 174 w 740"/>
              <a:gd name="T57" fmla="*/ 446 h 880"/>
              <a:gd name="T58" fmla="*/ 7 w 740"/>
              <a:gd name="T59" fmla="*/ 532 h 880"/>
              <a:gd name="T60" fmla="*/ 223 w 740"/>
              <a:gd name="T61" fmla="*/ 747 h 880"/>
              <a:gd name="T62" fmla="*/ 140 w 740"/>
              <a:gd name="T63" fmla="*/ 761 h 880"/>
              <a:gd name="T64" fmla="*/ 344 w 740"/>
              <a:gd name="T65" fmla="*/ 825 h 880"/>
              <a:gd name="T66" fmla="*/ 226 w 740"/>
              <a:gd name="T67" fmla="*/ 630 h 880"/>
              <a:gd name="T68" fmla="*/ 161 w 740"/>
              <a:gd name="T69" fmla="*/ 59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40" h="880">
                <a:moveTo>
                  <a:pt x="527" y="750"/>
                </a:moveTo>
                <a:cubicBezTo>
                  <a:pt x="527" y="763"/>
                  <a:pt x="537" y="772"/>
                  <a:pt x="549" y="772"/>
                </a:cubicBezTo>
                <a:cubicBezTo>
                  <a:pt x="564" y="772"/>
                  <a:pt x="578" y="771"/>
                  <a:pt x="592" y="769"/>
                </a:cubicBezTo>
                <a:cubicBezTo>
                  <a:pt x="565" y="827"/>
                  <a:pt x="497" y="880"/>
                  <a:pt x="443" y="880"/>
                </a:cubicBezTo>
                <a:cubicBezTo>
                  <a:pt x="411" y="880"/>
                  <a:pt x="391" y="847"/>
                  <a:pt x="391" y="825"/>
                </a:cubicBezTo>
                <a:cubicBezTo>
                  <a:pt x="391" y="377"/>
                  <a:pt x="391" y="377"/>
                  <a:pt x="391" y="377"/>
                </a:cubicBezTo>
                <a:cubicBezTo>
                  <a:pt x="395" y="353"/>
                  <a:pt x="406" y="330"/>
                  <a:pt x="423" y="311"/>
                </a:cubicBezTo>
                <a:cubicBezTo>
                  <a:pt x="455" y="278"/>
                  <a:pt x="504" y="265"/>
                  <a:pt x="548" y="280"/>
                </a:cubicBezTo>
                <a:cubicBezTo>
                  <a:pt x="559" y="284"/>
                  <a:pt x="572" y="278"/>
                  <a:pt x="576" y="266"/>
                </a:cubicBezTo>
                <a:cubicBezTo>
                  <a:pt x="579" y="255"/>
                  <a:pt x="573" y="242"/>
                  <a:pt x="562" y="238"/>
                </a:cubicBezTo>
                <a:cubicBezTo>
                  <a:pt x="502" y="218"/>
                  <a:pt x="435" y="235"/>
                  <a:pt x="391" y="281"/>
                </a:cubicBezTo>
                <a:cubicBezTo>
                  <a:pt x="391" y="39"/>
                  <a:pt x="391" y="39"/>
                  <a:pt x="391" y="39"/>
                </a:cubicBezTo>
                <a:cubicBezTo>
                  <a:pt x="413" y="15"/>
                  <a:pt x="443" y="0"/>
                  <a:pt x="477" y="0"/>
                </a:cubicBezTo>
                <a:cubicBezTo>
                  <a:pt x="535" y="0"/>
                  <a:pt x="583" y="45"/>
                  <a:pt x="593" y="104"/>
                </a:cubicBezTo>
                <a:cubicBezTo>
                  <a:pt x="586" y="103"/>
                  <a:pt x="578" y="103"/>
                  <a:pt x="571" y="103"/>
                </a:cubicBezTo>
                <a:cubicBezTo>
                  <a:pt x="536" y="103"/>
                  <a:pt x="502" y="111"/>
                  <a:pt x="472" y="129"/>
                </a:cubicBezTo>
                <a:cubicBezTo>
                  <a:pt x="461" y="135"/>
                  <a:pt x="458" y="148"/>
                  <a:pt x="464" y="158"/>
                </a:cubicBezTo>
                <a:cubicBezTo>
                  <a:pt x="470" y="169"/>
                  <a:pt x="483" y="173"/>
                  <a:pt x="494" y="167"/>
                </a:cubicBezTo>
                <a:cubicBezTo>
                  <a:pt x="517" y="154"/>
                  <a:pt x="544" y="147"/>
                  <a:pt x="571" y="147"/>
                </a:cubicBezTo>
                <a:cubicBezTo>
                  <a:pt x="657" y="147"/>
                  <a:pt x="727" y="217"/>
                  <a:pt x="727" y="303"/>
                </a:cubicBezTo>
                <a:cubicBezTo>
                  <a:pt x="727" y="382"/>
                  <a:pt x="667" y="448"/>
                  <a:pt x="591" y="458"/>
                </a:cubicBezTo>
                <a:cubicBezTo>
                  <a:pt x="593" y="444"/>
                  <a:pt x="593" y="430"/>
                  <a:pt x="592" y="415"/>
                </a:cubicBezTo>
                <a:cubicBezTo>
                  <a:pt x="590" y="403"/>
                  <a:pt x="579" y="395"/>
                  <a:pt x="567" y="396"/>
                </a:cubicBezTo>
                <a:cubicBezTo>
                  <a:pt x="555" y="398"/>
                  <a:pt x="546" y="409"/>
                  <a:pt x="548" y="421"/>
                </a:cubicBezTo>
                <a:cubicBezTo>
                  <a:pt x="551" y="446"/>
                  <a:pt x="544" y="472"/>
                  <a:pt x="529" y="492"/>
                </a:cubicBezTo>
                <a:cubicBezTo>
                  <a:pt x="513" y="512"/>
                  <a:pt x="490" y="525"/>
                  <a:pt x="465" y="529"/>
                </a:cubicBezTo>
                <a:cubicBezTo>
                  <a:pt x="453" y="530"/>
                  <a:pt x="444" y="541"/>
                  <a:pt x="446" y="553"/>
                </a:cubicBezTo>
                <a:cubicBezTo>
                  <a:pt x="447" y="564"/>
                  <a:pt x="457" y="572"/>
                  <a:pt x="468" y="572"/>
                </a:cubicBezTo>
                <a:cubicBezTo>
                  <a:pt x="469" y="572"/>
                  <a:pt x="470" y="572"/>
                  <a:pt x="471" y="572"/>
                </a:cubicBezTo>
                <a:cubicBezTo>
                  <a:pt x="516" y="566"/>
                  <a:pt x="553" y="540"/>
                  <a:pt x="574" y="503"/>
                </a:cubicBezTo>
                <a:cubicBezTo>
                  <a:pt x="631" y="502"/>
                  <a:pt x="682" y="477"/>
                  <a:pt x="718" y="439"/>
                </a:cubicBezTo>
                <a:cubicBezTo>
                  <a:pt x="732" y="466"/>
                  <a:pt x="740" y="498"/>
                  <a:pt x="740" y="532"/>
                </a:cubicBezTo>
                <a:cubicBezTo>
                  <a:pt x="740" y="595"/>
                  <a:pt x="712" y="651"/>
                  <a:pt x="669" y="688"/>
                </a:cubicBezTo>
                <a:cubicBezTo>
                  <a:pt x="636" y="713"/>
                  <a:pt x="595" y="728"/>
                  <a:pt x="549" y="728"/>
                </a:cubicBezTo>
                <a:cubicBezTo>
                  <a:pt x="537" y="728"/>
                  <a:pt x="527" y="738"/>
                  <a:pt x="527" y="750"/>
                </a:cubicBezTo>
                <a:close/>
                <a:moveTo>
                  <a:pt x="189" y="580"/>
                </a:moveTo>
                <a:cubicBezTo>
                  <a:pt x="233" y="595"/>
                  <a:pt x="282" y="583"/>
                  <a:pt x="314" y="549"/>
                </a:cubicBezTo>
                <a:cubicBezTo>
                  <a:pt x="330" y="532"/>
                  <a:pt x="340" y="511"/>
                  <a:pt x="344" y="489"/>
                </a:cubicBezTo>
                <a:cubicBezTo>
                  <a:pt x="344" y="39"/>
                  <a:pt x="344" y="39"/>
                  <a:pt x="344" y="39"/>
                </a:cubicBezTo>
                <a:cubicBezTo>
                  <a:pt x="323" y="15"/>
                  <a:pt x="292" y="0"/>
                  <a:pt x="259" y="0"/>
                </a:cubicBezTo>
                <a:cubicBezTo>
                  <a:pt x="205" y="0"/>
                  <a:pt x="160" y="38"/>
                  <a:pt x="146" y="90"/>
                </a:cubicBezTo>
                <a:cubicBezTo>
                  <a:pt x="148" y="90"/>
                  <a:pt x="151" y="90"/>
                  <a:pt x="153" y="90"/>
                </a:cubicBezTo>
                <a:cubicBezTo>
                  <a:pt x="188" y="90"/>
                  <a:pt x="222" y="99"/>
                  <a:pt x="252" y="116"/>
                </a:cubicBezTo>
                <a:cubicBezTo>
                  <a:pt x="262" y="122"/>
                  <a:pt x="266" y="135"/>
                  <a:pt x="260" y="146"/>
                </a:cubicBezTo>
                <a:cubicBezTo>
                  <a:pt x="254" y="156"/>
                  <a:pt x="241" y="160"/>
                  <a:pt x="230" y="154"/>
                </a:cubicBezTo>
                <a:cubicBezTo>
                  <a:pt x="207" y="141"/>
                  <a:pt x="180" y="134"/>
                  <a:pt x="153" y="134"/>
                </a:cubicBezTo>
                <a:cubicBezTo>
                  <a:pt x="143" y="134"/>
                  <a:pt x="134" y="135"/>
                  <a:pt x="125" y="136"/>
                </a:cubicBezTo>
                <a:cubicBezTo>
                  <a:pt x="53" y="155"/>
                  <a:pt x="0" y="223"/>
                  <a:pt x="0" y="305"/>
                </a:cubicBezTo>
                <a:cubicBezTo>
                  <a:pt x="0" y="333"/>
                  <a:pt x="6" y="359"/>
                  <a:pt x="17" y="382"/>
                </a:cubicBezTo>
                <a:cubicBezTo>
                  <a:pt x="42" y="352"/>
                  <a:pt x="74" y="328"/>
                  <a:pt x="111" y="313"/>
                </a:cubicBezTo>
                <a:cubicBezTo>
                  <a:pt x="114" y="291"/>
                  <a:pt x="121" y="271"/>
                  <a:pt x="133" y="252"/>
                </a:cubicBezTo>
                <a:cubicBezTo>
                  <a:pt x="140" y="242"/>
                  <a:pt x="153" y="239"/>
                  <a:pt x="164" y="246"/>
                </a:cubicBezTo>
                <a:cubicBezTo>
                  <a:pt x="174" y="253"/>
                  <a:pt x="177" y="266"/>
                  <a:pt x="170" y="276"/>
                </a:cubicBezTo>
                <a:cubicBezTo>
                  <a:pt x="156" y="298"/>
                  <a:pt x="151" y="324"/>
                  <a:pt x="157" y="349"/>
                </a:cubicBezTo>
                <a:cubicBezTo>
                  <a:pt x="162" y="374"/>
                  <a:pt x="177" y="395"/>
                  <a:pt x="198" y="410"/>
                </a:cubicBezTo>
                <a:cubicBezTo>
                  <a:pt x="208" y="416"/>
                  <a:pt x="211" y="430"/>
                  <a:pt x="205" y="440"/>
                </a:cubicBezTo>
                <a:cubicBezTo>
                  <a:pt x="200" y="446"/>
                  <a:pt x="193" y="450"/>
                  <a:pt x="186" y="450"/>
                </a:cubicBezTo>
                <a:cubicBezTo>
                  <a:pt x="182" y="450"/>
                  <a:pt x="178" y="449"/>
                  <a:pt x="174" y="446"/>
                </a:cubicBezTo>
                <a:cubicBezTo>
                  <a:pt x="143" y="426"/>
                  <a:pt x="122" y="396"/>
                  <a:pt x="114" y="360"/>
                </a:cubicBezTo>
                <a:cubicBezTo>
                  <a:pt x="49" y="392"/>
                  <a:pt x="7" y="459"/>
                  <a:pt x="7" y="532"/>
                </a:cubicBezTo>
                <a:cubicBezTo>
                  <a:pt x="7" y="639"/>
                  <a:pt x="94" y="725"/>
                  <a:pt x="201" y="725"/>
                </a:cubicBezTo>
                <a:cubicBezTo>
                  <a:pt x="213" y="725"/>
                  <a:pt x="223" y="735"/>
                  <a:pt x="223" y="747"/>
                </a:cubicBezTo>
                <a:cubicBezTo>
                  <a:pt x="223" y="759"/>
                  <a:pt x="213" y="769"/>
                  <a:pt x="201" y="769"/>
                </a:cubicBezTo>
                <a:cubicBezTo>
                  <a:pt x="180" y="769"/>
                  <a:pt x="160" y="767"/>
                  <a:pt x="140" y="761"/>
                </a:cubicBezTo>
                <a:cubicBezTo>
                  <a:pt x="166" y="822"/>
                  <a:pt x="238" y="880"/>
                  <a:pt x="295" y="880"/>
                </a:cubicBezTo>
                <a:cubicBezTo>
                  <a:pt x="327" y="880"/>
                  <a:pt x="344" y="854"/>
                  <a:pt x="344" y="825"/>
                </a:cubicBezTo>
                <a:cubicBezTo>
                  <a:pt x="344" y="581"/>
                  <a:pt x="344" y="581"/>
                  <a:pt x="344" y="581"/>
                </a:cubicBezTo>
                <a:cubicBezTo>
                  <a:pt x="313" y="613"/>
                  <a:pt x="270" y="630"/>
                  <a:pt x="226" y="630"/>
                </a:cubicBezTo>
                <a:cubicBezTo>
                  <a:pt x="209" y="630"/>
                  <a:pt x="192" y="628"/>
                  <a:pt x="175" y="622"/>
                </a:cubicBezTo>
                <a:cubicBezTo>
                  <a:pt x="163" y="618"/>
                  <a:pt x="157" y="606"/>
                  <a:pt x="161" y="594"/>
                </a:cubicBezTo>
                <a:cubicBezTo>
                  <a:pt x="165" y="583"/>
                  <a:pt x="177" y="576"/>
                  <a:pt x="189" y="580"/>
                </a:cubicBezTo>
                <a:close/>
              </a:path>
            </a:pathLst>
          </a:custGeom>
          <a:solidFill>
            <a:srgbClr val="93E2FF"/>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28" name="Straight Connector 27"/>
          <p:cNvCxnSpPr/>
          <p:nvPr/>
        </p:nvCxnSpPr>
        <p:spPr>
          <a:xfrm>
            <a:off x="8825023" y="2081213"/>
            <a:ext cx="0" cy="4079875"/>
          </a:xfrm>
          <a:prstGeom prst="line">
            <a:avLst/>
          </a:prstGeom>
          <a:ln w="9525" cap="rnd" cmpd="sng" algn="ctr">
            <a:solidFill>
              <a:srgbClr val="77777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9005777" y="2081213"/>
            <a:ext cx="2557574" cy="4079081"/>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rgbClr val="00AEEF"/>
                </a:solidFill>
                <a:latin typeface="Arial" panose="020B0604020202020204" pitchFamily="34" charset="0"/>
                <a:cs typeface="Arial" panose="020B0604020202020204" pitchFamily="34" charset="0"/>
                <a:sym typeface="Arial" panose="020B0604020202020204" pitchFamily="34" charset="0"/>
              </a:rPr>
              <a:t>Strong alignment </a:t>
            </a:r>
            <a:r>
              <a:rPr lang="en-US" sz="1600">
                <a:solidFill>
                  <a:srgbClr val="77777A"/>
                </a:solidFill>
                <a:latin typeface="Arial" panose="020B0604020202020204" pitchFamily="34" charset="0"/>
                <a:cs typeface="Arial" panose="020B0604020202020204" pitchFamily="34" charset="0"/>
                <a:sym typeface="Arial" panose="020B0604020202020204" pitchFamily="34" charset="0"/>
              </a:rPr>
              <a:t>between curriculum framework, content, pedagogy, and assessment to drive learning outcome improvement</a:t>
            </a:r>
          </a:p>
          <a:p>
            <a:pPr algn="ctr"/>
            <a:endParaRPr lang="en-US" sz="1600">
              <a:solidFill>
                <a:srgbClr val="77777A"/>
              </a:solidFill>
              <a:latin typeface="Arial" panose="020B0604020202020204" pitchFamily="34" charset="0"/>
              <a:cs typeface="Arial" panose="020B0604020202020204" pitchFamily="34" charset="0"/>
              <a:sym typeface="Arial" panose="020B0604020202020204" pitchFamily="34" charset="0"/>
            </a:endParaRPr>
          </a:p>
          <a:p>
            <a:pPr algn="ctr"/>
            <a:endParaRPr lang="en-US" sz="1600">
              <a:solidFill>
                <a:srgbClr val="77777A"/>
              </a:solidFill>
              <a:latin typeface="Arial" panose="020B0604020202020204" pitchFamily="34" charset="0"/>
              <a:cs typeface="Arial" panose="020B0604020202020204" pitchFamily="34" charset="0"/>
              <a:sym typeface="Arial" panose="020B0604020202020204" pitchFamily="34" charset="0"/>
            </a:endParaRPr>
          </a:p>
          <a:p>
            <a:pPr algn="ctr"/>
            <a:r>
              <a:rPr lang="en-US" sz="1600">
                <a:solidFill>
                  <a:srgbClr val="77777A"/>
                </a:solidFill>
                <a:latin typeface="Arial" panose="020B0604020202020204" pitchFamily="34" charset="0"/>
                <a:cs typeface="Arial" panose="020B0604020202020204" pitchFamily="34" charset="0"/>
                <a:sym typeface="Arial" panose="020B0604020202020204" pitchFamily="34" charset="0"/>
              </a:rPr>
              <a:t>Learning Passport is a </a:t>
            </a:r>
            <a:r>
              <a:rPr lang="en-US" sz="1600">
                <a:solidFill>
                  <a:srgbClr val="00AEEF"/>
                </a:solidFill>
                <a:latin typeface="Arial" panose="020B0604020202020204" pitchFamily="34" charset="0"/>
                <a:cs typeface="Arial" panose="020B0604020202020204" pitchFamily="34" charset="0"/>
                <a:sym typeface="Arial" panose="020B0604020202020204" pitchFamily="34" charset="0"/>
              </a:rPr>
              <a:t>supplementary tool </a:t>
            </a:r>
            <a:r>
              <a:rPr lang="en-US" sz="1600">
                <a:solidFill>
                  <a:srgbClr val="77777A"/>
                </a:solidFill>
                <a:latin typeface="Arial" panose="020B0604020202020204" pitchFamily="34" charset="0"/>
                <a:cs typeface="Arial" panose="020B0604020202020204" pitchFamily="34" charset="0"/>
                <a:sym typeface="Arial" panose="020B0604020202020204" pitchFamily="34" charset="0"/>
              </a:rPr>
              <a:t>to support both formal and non-formal education programs, and will be aligned with education sector plans</a:t>
            </a:r>
            <a:endParaRPr lang="en-US" sz="1600" b="1">
              <a:solidFill>
                <a:srgbClr val="77777A"/>
              </a:solidFill>
              <a:latin typeface="Arial" panose="020B0604020202020204" pitchFamily="34" charset="0"/>
              <a:cs typeface="Arial" panose="020B0604020202020204" pitchFamily="34" charset="0"/>
              <a:sym typeface="Arial" panose="020B0604020202020204" pitchFamily="34" charset="0"/>
            </a:endParaRPr>
          </a:p>
        </p:txBody>
      </p:sp>
      <p:cxnSp>
        <p:nvCxnSpPr>
          <p:cNvPr id="30" name="Elbow Connector 29"/>
          <p:cNvCxnSpPr/>
          <p:nvPr/>
        </p:nvCxnSpPr>
        <p:spPr>
          <a:xfrm rot="5400000" flipH="1" flipV="1">
            <a:off x="-1198371" y="3643860"/>
            <a:ext cx="3130388" cy="287079"/>
          </a:xfrm>
          <a:prstGeom prst="bentConnector3">
            <a:avLst>
              <a:gd name="adj1" fmla="val 99929"/>
            </a:avLst>
          </a:prstGeom>
          <a:ln w="9525" cap="rnd" cmpd="sng" algn="ctr">
            <a:solidFill>
              <a:srgbClr val="005674"/>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5" name="Elbow Connector 84"/>
          <p:cNvCxnSpPr/>
          <p:nvPr/>
        </p:nvCxnSpPr>
        <p:spPr>
          <a:xfrm rot="5400000" flipH="1" flipV="1">
            <a:off x="369491" y="3951920"/>
            <a:ext cx="1969460" cy="666990"/>
          </a:xfrm>
          <a:prstGeom prst="bentConnector3">
            <a:avLst>
              <a:gd name="adj1" fmla="val 99940"/>
            </a:avLst>
          </a:prstGeom>
          <a:ln w="9525" cap="rnd" cmpd="sng" algn="ctr">
            <a:solidFill>
              <a:srgbClr val="0082B0"/>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8" name="Elbow Connector 87"/>
          <p:cNvCxnSpPr/>
          <p:nvPr/>
        </p:nvCxnSpPr>
        <p:spPr>
          <a:xfrm rot="5400000" flipH="1" flipV="1">
            <a:off x="1770736" y="4483455"/>
            <a:ext cx="1083130" cy="974999"/>
          </a:xfrm>
          <a:prstGeom prst="bentConnector3">
            <a:avLst>
              <a:gd name="adj1" fmla="val 100064"/>
            </a:avLst>
          </a:prstGeom>
          <a:ln w="9525" cap="rnd" cmpd="sng" algn="ctr">
            <a:solidFill>
              <a:srgbClr val="00AEEF"/>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ee4pFootnotes"/>
          <p:cNvSpPr>
            <a:spLocks noChangeArrowheads="1"/>
          </p:cNvSpPr>
          <p:nvPr/>
        </p:nvSpPr>
        <p:spPr bwMode="auto">
          <a:xfrm>
            <a:off x="3538208" y="6332976"/>
            <a:ext cx="6122705"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err="1">
                <a:solidFill>
                  <a:srgbClr val="7F7F7F">
                    <a:lumMod val="100000"/>
                  </a:srgbClr>
                </a:solidFill>
                <a:latin typeface="Arial" panose="020B0604020202020204" pitchFamily="34" charset="0"/>
                <a:cs typeface="Arial" panose="020B0604020202020204" pitchFamily="34" charset="0"/>
                <a:sym typeface="Arial" panose="020B0604020202020204" pitchFamily="34" charset="0"/>
              </a:rPr>
              <a:t>SEL</a:t>
            </a:r>
            <a:r>
              <a:rPr lang="en-US" sz="1000">
                <a:solidFill>
                  <a:srgbClr val="7F7F7F">
                    <a:lumMod val="100000"/>
                  </a:srgbClr>
                </a:solidFill>
                <a:latin typeface="Arial" panose="020B0604020202020204" pitchFamily="34" charset="0"/>
                <a:cs typeface="Arial" panose="020B0604020202020204" pitchFamily="34" charset="0"/>
                <a:sym typeface="Arial" panose="020B0604020202020204" pitchFamily="34" charset="0"/>
              </a:rPr>
              <a:t> = Social and emotional learning</a:t>
            </a:r>
          </a:p>
          <a:p>
            <a:pPr>
              <a:lnSpc>
                <a:spcPct val="90000"/>
              </a:lnSpc>
            </a:pPr>
            <a:r>
              <a:rPr lang="en-US" sz="1000">
                <a:solidFill>
                  <a:srgbClr val="7F7F7F">
                    <a:lumMod val="100000"/>
                  </a:srgbClr>
                </a:solidFill>
                <a:latin typeface="Arial" panose="020B0604020202020204" pitchFamily="34" charset="0"/>
                <a:cs typeface="Arial" panose="020B0604020202020204" pitchFamily="34" charset="0"/>
                <a:sym typeface="Arial" panose="020B0604020202020204" pitchFamily="34" charset="0"/>
              </a:rPr>
              <a:t>Note: In some instances, the LP may need to be deployed in non-tech settings, but the initial business plan has been designed with the offline tech deployment as the base case</a:t>
            </a:r>
          </a:p>
        </p:txBody>
      </p:sp>
      <p:graphicFrame>
        <p:nvGraphicFramePr>
          <p:cNvPr id="34" name="Object 33" hidden="1"/>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12" name="think-cell Slide" r:id="rId10" imgW="352" imgH="355" progId="TCLayout.ActiveDocument.1">
                  <p:embed/>
                </p:oleObj>
              </mc:Choice>
              <mc:Fallback>
                <p:oleObj name="think-cell Slide" r:id="rId10" imgW="352" imgH="355" progId="TCLayout.ActiveDocument.1">
                  <p:embed/>
                  <p:pic>
                    <p:nvPicPr>
                      <p:cNvPr id="34" name="Object 33" hidden="1"/>
                      <p:cNvPicPr/>
                      <p:nvPr/>
                    </p:nvPicPr>
                    <p:blipFill>
                      <a:blip r:embed="rId1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413337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F6AA8-E27E-44A8-B821-DBAADE468AF9}"/>
              </a:ext>
            </a:extLst>
          </p:cNvPr>
          <p:cNvSpPr>
            <a:spLocks noGrp="1"/>
          </p:cNvSpPr>
          <p:nvPr>
            <p:ph type="title"/>
          </p:nvPr>
        </p:nvSpPr>
        <p:spPr>
          <a:xfrm>
            <a:off x="0" y="0"/>
            <a:ext cx="12192000" cy="914400"/>
          </a:xfrm>
          <a:solidFill>
            <a:srgbClr val="00A4E1"/>
          </a:solidFill>
        </p:spPr>
        <p:txBody>
          <a:bodyPr vert="horz" wrap="square" lIns="0" tIns="0" rIns="0" bIns="0" rtlCol="0" anchor="ctr">
            <a:noAutofit/>
          </a:bodyPr>
          <a:lstStyle/>
          <a:p>
            <a:pPr marL="342900">
              <a:lnSpc>
                <a:spcPct val="100000"/>
              </a:lnSpc>
            </a:pPr>
            <a:r>
              <a:rPr lang="en-US" b="1">
                <a:solidFill>
                  <a:schemeClr val="bg1"/>
                </a:solidFill>
              </a:rPr>
              <a:t>Contributing to Evidence Generation in EdTech</a:t>
            </a:r>
          </a:p>
        </p:txBody>
      </p:sp>
      <p:pic>
        <p:nvPicPr>
          <p:cNvPr id="3" name="Picture 2">
            <a:extLst>
              <a:ext uri="{FF2B5EF4-FFF2-40B4-BE49-F238E27FC236}">
                <a16:creationId xmlns:a16="http://schemas.microsoft.com/office/drawing/2014/main" id="{DA7FE8A2-1C19-429D-A94F-073113622B76}"/>
              </a:ext>
            </a:extLst>
          </p:cNvPr>
          <p:cNvPicPr>
            <a:picLocks noChangeAspect="1"/>
          </p:cNvPicPr>
          <p:nvPr/>
        </p:nvPicPr>
        <p:blipFill>
          <a:blip r:embed="rId3">
            <a:duotone>
              <a:schemeClr val="accent4">
                <a:shade val="45000"/>
                <a:satMod val="135000"/>
              </a:schemeClr>
              <a:prstClr val="white"/>
            </a:duotone>
            <a:extLst>
              <a:ext uri="{BEBA8EAE-BF5A-486C-A8C5-ECC9F3942E4B}">
                <a14:imgProps xmlns:a14="http://schemas.microsoft.com/office/drawing/2010/main">
                  <a14:imgLayer r:embed="rId4">
                    <a14:imgEffect>
                      <a14:colorTemperature colorTemp="11200"/>
                    </a14:imgEffect>
                    <a14:imgEffect>
                      <a14:brightnessContrast contrast="40000"/>
                    </a14:imgEffect>
                  </a14:imgLayer>
                </a14:imgProps>
              </a:ext>
            </a:extLst>
          </a:blip>
          <a:stretch>
            <a:fillRect/>
          </a:stretch>
        </p:blipFill>
        <p:spPr>
          <a:xfrm>
            <a:off x="630000" y="1209145"/>
            <a:ext cx="11021226" cy="5026055"/>
          </a:xfrm>
          <a:prstGeom prst="rect">
            <a:avLst/>
          </a:prstGeom>
        </p:spPr>
      </p:pic>
    </p:spTree>
    <p:extLst>
      <p:ext uri="{BB962C8B-B14F-4D97-AF65-F5344CB8AC3E}">
        <p14:creationId xmlns:p14="http://schemas.microsoft.com/office/powerpoint/2010/main" val="3871218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1498E4-90C9-435C-826E-73AB16B6F6BE}"/>
              </a:ext>
            </a:extLst>
          </p:cNvPr>
          <p:cNvSpPr/>
          <p:nvPr/>
        </p:nvSpPr>
        <p:spPr>
          <a:xfrm>
            <a:off x="-10433" y="2022072"/>
            <a:ext cx="12212866" cy="682609"/>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rgbClr val="FFFFFF"/>
              </a:solidFill>
            </a:endParaRPr>
          </a:p>
        </p:txBody>
      </p:sp>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6"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Arial" panose="020B0604020202020204" pitchFamily="34" charset="0"/>
              <a:ea typeface="+mj-ea"/>
              <a:cs typeface="+mj-cs"/>
              <a:sym typeface="Arial" panose="020B0604020202020204" pitchFamily="34" charset="0"/>
            </a:endParaRPr>
          </a:p>
        </p:txBody>
      </p:sp>
      <p:cxnSp>
        <p:nvCxnSpPr>
          <p:cNvPr id="45" name="Straight Connector 44"/>
          <p:cNvCxnSpPr/>
          <p:nvPr/>
        </p:nvCxnSpPr>
        <p:spPr>
          <a:xfrm>
            <a:off x="6045472" y="2690047"/>
            <a:ext cx="0" cy="3907733"/>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6038188" y="2797319"/>
            <a:ext cx="5872789" cy="190380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xmlns="">
                <a:solidFill>
                  <a:srgbClr val="29BA74"/>
                </a:solidFill>
              </a14:hiddenFill>
            </a:ext>
            <a:ext uri="{91240B29-F687-4f45-9708-019B960494DF}">
              <a14:hiddenLine xmlns:a14="http://schemas.microsoft.com/office/drawing/2010/main" xmlns=""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nSpc>
                <a:spcPct val="150000"/>
              </a:lnSpc>
              <a:spcBef>
                <a:spcPts val="600"/>
              </a:spcBef>
            </a:pPr>
            <a:endParaRPr lang="en-US" sz="2000" i="1">
              <a:solidFill>
                <a:srgbClr val="6E6F73"/>
              </a:solidFill>
            </a:endParaRPr>
          </a:p>
        </p:txBody>
      </p:sp>
      <p:graphicFrame>
        <p:nvGraphicFramePr>
          <p:cNvPr id="18" name="Diagram 17">
            <a:extLst>
              <a:ext uri="{FF2B5EF4-FFF2-40B4-BE49-F238E27FC236}">
                <a16:creationId xmlns:a16="http://schemas.microsoft.com/office/drawing/2014/main" id="{AA271869-C7A8-4356-A17B-E300CF2D82F5}"/>
              </a:ext>
            </a:extLst>
          </p:cNvPr>
          <p:cNvGraphicFramePr/>
          <p:nvPr>
            <p:extLst>
              <p:ext uri="{D42A27DB-BD31-4B8C-83A1-F6EECF244321}">
                <p14:modId xmlns:p14="http://schemas.microsoft.com/office/powerpoint/2010/main" val="4125418082"/>
              </p:ext>
            </p:extLst>
          </p:nvPr>
        </p:nvGraphicFramePr>
        <p:xfrm>
          <a:off x="311978" y="2904587"/>
          <a:ext cx="5636904" cy="369319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9" name="Title 1">
            <a:extLst>
              <a:ext uri="{FF2B5EF4-FFF2-40B4-BE49-F238E27FC236}">
                <a16:creationId xmlns:a16="http://schemas.microsoft.com/office/drawing/2014/main" id="{90E5E96D-1DA6-40DE-926B-20489C7BCB1A}"/>
              </a:ext>
            </a:extLst>
          </p:cNvPr>
          <p:cNvSpPr txBox="1">
            <a:spLocks/>
          </p:cNvSpPr>
          <p:nvPr/>
        </p:nvSpPr>
        <p:spPr>
          <a:xfrm>
            <a:off x="595781" y="247162"/>
            <a:ext cx="11257876" cy="147732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a:lstStyle>
          <a:p>
            <a:pPr>
              <a:lnSpc>
                <a:spcPct val="100000"/>
              </a:lnSpc>
            </a:pPr>
            <a:r>
              <a:rPr lang="en-US" i="1">
                <a:solidFill>
                  <a:schemeClr val="bg1"/>
                </a:solidFill>
              </a:rPr>
              <a:t>Our </a:t>
            </a:r>
            <a:r>
              <a:rPr lang="en-US" b="1" i="1">
                <a:solidFill>
                  <a:schemeClr val="bg1"/>
                </a:solidFill>
              </a:rPr>
              <a:t>mission</a:t>
            </a:r>
            <a:r>
              <a:rPr lang="en-US" i="1">
                <a:solidFill>
                  <a:schemeClr val="bg1"/>
                </a:solidFill>
              </a:rPr>
              <a:t> is to </a:t>
            </a:r>
            <a:r>
              <a:rPr lang="en-US" b="1" i="1">
                <a:solidFill>
                  <a:schemeClr val="bg1"/>
                </a:solidFill>
              </a:rPr>
              <a:t>enable</a:t>
            </a:r>
            <a:r>
              <a:rPr lang="en-US" i="1">
                <a:solidFill>
                  <a:schemeClr val="bg1"/>
                </a:solidFill>
              </a:rPr>
              <a:t> </a:t>
            </a:r>
            <a:r>
              <a:rPr lang="en-US" b="1" i="1">
                <a:solidFill>
                  <a:schemeClr val="bg1"/>
                </a:solidFill>
              </a:rPr>
              <a:t>continuous access </a:t>
            </a:r>
            <a:r>
              <a:rPr lang="en-US" i="1">
                <a:solidFill>
                  <a:schemeClr val="bg1"/>
                </a:solidFill>
              </a:rPr>
              <a:t>to education for all children, youth, and teachers around the world –and </a:t>
            </a:r>
            <a:r>
              <a:rPr lang="en-US" b="1" i="1">
                <a:solidFill>
                  <a:schemeClr val="bg1"/>
                </a:solidFill>
              </a:rPr>
              <a:t>drive</a:t>
            </a:r>
            <a:r>
              <a:rPr lang="en-US" i="1">
                <a:solidFill>
                  <a:schemeClr val="bg1"/>
                </a:solidFill>
              </a:rPr>
              <a:t> </a:t>
            </a:r>
            <a:r>
              <a:rPr lang="en-US" b="1" i="1">
                <a:solidFill>
                  <a:schemeClr val="bg1"/>
                </a:solidFill>
              </a:rPr>
              <a:t>improved learning outcomes </a:t>
            </a:r>
            <a:r>
              <a:rPr lang="en-US" i="1">
                <a:solidFill>
                  <a:schemeClr val="bg1"/>
                </a:solidFill>
              </a:rPr>
              <a:t>through high-quality, portable education to support their entry into other education or opportunity pathways, including formal education</a:t>
            </a:r>
          </a:p>
        </p:txBody>
      </p:sp>
      <p:sp>
        <p:nvSpPr>
          <p:cNvPr id="29" name="Title 1">
            <a:extLst>
              <a:ext uri="{FF2B5EF4-FFF2-40B4-BE49-F238E27FC236}">
                <a16:creationId xmlns:a16="http://schemas.microsoft.com/office/drawing/2014/main" id="{931E0326-83A7-48E7-A13B-91EDF3ABD6C3}"/>
              </a:ext>
            </a:extLst>
          </p:cNvPr>
          <p:cNvSpPr>
            <a:spLocks noGrp="1"/>
          </p:cNvSpPr>
          <p:nvPr>
            <p:ph type="title" idx="4294967295"/>
          </p:nvPr>
        </p:nvSpPr>
        <p:spPr>
          <a:xfrm>
            <a:off x="6394081" y="2143817"/>
            <a:ext cx="5613486" cy="443198"/>
          </a:xfrm>
        </p:spPr>
        <p:txBody>
          <a:bodyPr/>
          <a:lstStyle/>
          <a:p>
            <a:pPr algn="ctr"/>
            <a:r>
              <a:rPr lang="en-US" sz="3200" b="1">
                <a:solidFill>
                  <a:srgbClr val="00A4E1"/>
                </a:solidFill>
              </a:rPr>
              <a:t>3 Ways to Reach Children</a:t>
            </a:r>
          </a:p>
        </p:txBody>
      </p:sp>
      <p:grpSp>
        <p:nvGrpSpPr>
          <p:cNvPr id="11" name="Group 10">
            <a:extLst>
              <a:ext uri="{FF2B5EF4-FFF2-40B4-BE49-F238E27FC236}">
                <a16:creationId xmlns:a16="http://schemas.microsoft.com/office/drawing/2014/main" id="{6A2C1245-79DC-4407-B6A1-864E6DE0DD43}"/>
              </a:ext>
            </a:extLst>
          </p:cNvPr>
          <p:cNvGrpSpPr/>
          <p:nvPr/>
        </p:nvGrpSpPr>
        <p:grpSpPr>
          <a:xfrm>
            <a:off x="6504611" y="4603567"/>
            <a:ext cx="1653323" cy="1477539"/>
            <a:chOff x="203526" y="4197562"/>
            <a:chExt cx="1828800" cy="1645920"/>
          </a:xfrm>
        </p:grpSpPr>
        <p:pic>
          <p:nvPicPr>
            <p:cNvPr id="30" name="Picture 4" descr="Image result for school tanzania">
              <a:extLst>
                <a:ext uri="{FF2B5EF4-FFF2-40B4-BE49-F238E27FC236}">
                  <a16:creationId xmlns:a16="http://schemas.microsoft.com/office/drawing/2014/main" id="{584D33C4-7BFC-490D-994F-D8C34B458F8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20693" r="26890"/>
            <a:stretch/>
          </p:blipFill>
          <p:spPr bwMode="auto">
            <a:xfrm>
              <a:off x="203526" y="4197562"/>
              <a:ext cx="1828800" cy="1645920"/>
            </a:xfrm>
            <a:prstGeom prst="rect">
              <a:avLst/>
            </a:prstGeom>
            <a:noFill/>
            <a:extLst>
              <a:ext uri="{909E8E84-426E-40dd-AFC4-6F175D3DCCD1}">
                <a14:hiddenFill xmlns:a14="http://schemas.microsoft.com/office/drawing/2010/main" xmlns="">
                  <a:solidFill>
                    <a:srgbClr val="FFFFFF"/>
                  </a:solidFill>
                </a14:hiddenFill>
              </a:ext>
            </a:extLst>
          </p:spPr>
        </p:pic>
        <p:sp>
          <p:nvSpPr>
            <p:cNvPr id="31" name="Rectangle 30">
              <a:extLst>
                <a:ext uri="{FF2B5EF4-FFF2-40B4-BE49-F238E27FC236}">
                  <a16:creationId xmlns:a16="http://schemas.microsoft.com/office/drawing/2014/main" id="{198E7ED2-5744-48C2-85D4-7A921AF50A65}"/>
                </a:ext>
              </a:extLst>
            </p:cNvPr>
            <p:cNvSpPr/>
            <p:nvPr/>
          </p:nvSpPr>
          <p:spPr>
            <a:xfrm>
              <a:off x="203526" y="4197562"/>
              <a:ext cx="1828800" cy="1645920"/>
            </a:xfrm>
            <a:prstGeom prst="rect">
              <a:avLst/>
            </a:prstGeom>
            <a:solidFill>
              <a:srgbClr val="9A9A9A">
                <a:alpha val="79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a:solidFill>
                    <a:srgbClr val="FFFFFF"/>
                  </a:solidFill>
                </a:rPr>
                <a:t>Formal</a:t>
              </a:r>
            </a:p>
          </p:txBody>
        </p:sp>
      </p:grpSp>
      <p:sp>
        <p:nvSpPr>
          <p:cNvPr id="32" name="Freeform 50">
            <a:extLst>
              <a:ext uri="{FF2B5EF4-FFF2-40B4-BE49-F238E27FC236}">
                <a16:creationId xmlns:a16="http://schemas.microsoft.com/office/drawing/2014/main" id="{DEDA8A55-33E4-4E42-A901-E0D35E616AE9}"/>
              </a:ext>
            </a:extLst>
          </p:cNvPr>
          <p:cNvSpPr>
            <a:spLocks noEditPoints="1"/>
          </p:cNvSpPr>
          <p:nvPr/>
        </p:nvSpPr>
        <p:spPr bwMode="gray">
          <a:xfrm rot="3545032">
            <a:off x="10417645" y="3481938"/>
            <a:ext cx="1385941" cy="473945"/>
          </a:xfrm>
          <a:custGeom>
            <a:avLst/>
            <a:gdLst>
              <a:gd name="T0" fmla="*/ 404 w 553"/>
              <a:gd name="T1" fmla="*/ 86 h 111"/>
              <a:gd name="T2" fmla="*/ 514 w 553"/>
              <a:gd name="T3" fmla="*/ 59 h 111"/>
              <a:gd name="T4" fmla="*/ 453 w 553"/>
              <a:gd name="T5" fmla="*/ 60 h 111"/>
              <a:gd name="T6" fmla="*/ 449 w 553"/>
              <a:gd name="T7" fmla="*/ 46 h 111"/>
              <a:gd name="T8" fmla="*/ 410 w 553"/>
              <a:gd name="T9" fmla="*/ 70 h 111"/>
              <a:gd name="T10" fmla="*/ 391 w 553"/>
              <a:gd name="T11" fmla="*/ 41 h 111"/>
              <a:gd name="T12" fmla="*/ 127 w 553"/>
              <a:gd name="T13" fmla="*/ 64 h 111"/>
              <a:gd name="T14" fmla="*/ 43 w 553"/>
              <a:gd name="T15" fmla="*/ 90 h 111"/>
              <a:gd name="T16" fmla="*/ 2 w 553"/>
              <a:gd name="T17" fmla="*/ 111 h 111"/>
              <a:gd name="T18" fmla="*/ 348 w 553"/>
              <a:gd name="T19" fmla="*/ 21 h 111"/>
              <a:gd name="T20" fmla="*/ 389 w 553"/>
              <a:gd name="T21" fmla="*/ 21 h 111"/>
              <a:gd name="T22" fmla="*/ 477 w 553"/>
              <a:gd name="T23" fmla="*/ 3 h 111"/>
              <a:gd name="T24" fmla="*/ 543 w 553"/>
              <a:gd name="T25" fmla="*/ 58 h 111"/>
              <a:gd name="T26" fmla="*/ 550 w 553"/>
              <a:gd name="T27" fmla="*/ 66 h 111"/>
              <a:gd name="T28" fmla="*/ 544 w 553"/>
              <a:gd name="T29" fmla="*/ 65 h 111"/>
              <a:gd name="T30" fmla="*/ 530 w 553"/>
              <a:gd name="T31" fmla="*/ 62 h 111"/>
              <a:gd name="T32" fmla="*/ 525 w 553"/>
              <a:gd name="T33" fmla="*/ 62 h 111"/>
              <a:gd name="T34" fmla="*/ 534 w 553"/>
              <a:gd name="T35" fmla="*/ 57 h 111"/>
              <a:gd name="T36" fmla="*/ 500 w 553"/>
              <a:gd name="T37" fmla="*/ 43 h 111"/>
              <a:gd name="T38" fmla="*/ 516 w 553"/>
              <a:gd name="T39" fmla="*/ 49 h 111"/>
              <a:gd name="T40" fmla="*/ 516 w 553"/>
              <a:gd name="T41" fmla="*/ 52 h 111"/>
              <a:gd name="T42" fmla="*/ 529 w 553"/>
              <a:gd name="T43" fmla="*/ 50 h 111"/>
              <a:gd name="T44" fmla="*/ 469 w 553"/>
              <a:gd name="T45" fmla="*/ 22 h 111"/>
              <a:gd name="T46" fmla="*/ 471 w 553"/>
              <a:gd name="T47" fmla="*/ 30 h 111"/>
              <a:gd name="T48" fmla="*/ 492 w 553"/>
              <a:gd name="T49" fmla="*/ 34 h 111"/>
              <a:gd name="T50" fmla="*/ 497 w 553"/>
              <a:gd name="T51" fmla="*/ 36 h 111"/>
              <a:gd name="T52" fmla="*/ 501 w 553"/>
              <a:gd name="T53" fmla="*/ 36 h 111"/>
              <a:gd name="T54" fmla="*/ 502 w 553"/>
              <a:gd name="T55" fmla="*/ 38 h 111"/>
              <a:gd name="T56" fmla="*/ 495 w 553"/>
              <a:gd name="T57" fmla="*/ 42 h 111"/>
              <a:gd name="T58" fmla="*/ 494 w 553"/>
              <a:gd name="T59" fmla="*/ 49 h 111"/>
              <a:gd name="T60" fmla="*/ 494 w 553"/>
              <a:gd name="T61" fmla="*/ 49 h 111"/>
              <a:gd name="T62" fmla="*/ 492 w 553"/>
              <a:gd name="T63" fmla="*/ 47 h 111"/>
              <a:gd name="T64" fmla="*/ 483 w 553"/>
              <a:gd name="T65" fmla="*/ 47 h 111"/>
              <a:gd name="T66" fmla="*/ 492 w 553"/>
              <a:gd name="T67" fmla="*/ 39 h 111"/>
              <a:gd name="T68" fmla="*/ 480 w 553"/>
              <a:gd name="T69" fmla="*/ 37 h 111"/>
              <a:gd name="T70" fmla="*/ 481 w 553"/>
              <a:gd name="T71" fmla="*/ 44 h 111"/>
              <a:gd name="T72" fmla="*/ 463 w 553"/>
              <a:gd name="T73" fmla="*/ 44 h 111"/>
              <a:gd name="T74" fmla="*/ 468 w 553"/>
              <a:gd name="T75" fmla="*/ 49 h 111"/>
              <a:gd name="T76" fmla="*/ 458 w 553"/>
              <a:gd name="T77" fmla="*/ 53 h 111"/>
              <a:gd name="T78" fmla="*/ 463 w 553"/>
              <a:gd name="T79" fmla="*/ 32 h 111"/>
              <a:gd name="T80" fmla="*/ 465 w 553"/>
              <a:gd name="T81" fmla="*/ 33 h 111"/>
              <a:gd name="T82" fmla="*/ 457 w 553"/>
              <a:gd name="T83" fmla="*/ 37 h 111"/>
              <a:gd name="T84" fmla="*/ 459 w 553"/>
              <a:gd name="T85" fmla="*/ 43 h 111"/>
              <a:gd name="T86" fmla="*/ 423 w 553"/>
              <a:gd name="T87" fmla="*/ 27 h 111"/>
              <a:gd name="T88" fmla="*/ 456 w 553"/>
              <a:gd name="T89" fmla="*/ 32 h 111"/>
              <a:gd name="T90" fmla="*/ 180 w 553"/>
              <a:gd name="T91" fmla="*/ 52 h 111"/>
              <a:gd name="T92" fmla="*/ 391 w 553"/>
              <a:gd name="T93" fmla="*/ 37 h 111"/>
              <a:gd name="T94" fmla="*/ 434 w 553"/>
              <a:gd name="T95" fmla="*/ 33 h 111"/>
              <a:gd name="T96" fmla="*/ 360 w 553"/>
              <a:gd name="T97" fmla="*/ 27 h 111"/>
              <a:gd name="T98" fmla="*/ 232 w 553"/>
              <a:gd name="T99" fmla="*/ 40 h 111"/>
              <a:gd name="T100" fmla="*/ 115 w 553"/>
              <a:gd name="T101" fmla="*/ 6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3" h="111">
                <a:moveTo>
                  <a:pt x="548" y="70"/>
                </a:moveTo>
                <a:cubicBezTo>
                  <a:pt x="545" y="69"/>
                  <a:pt x="542" y="69"/>
                  <a:pt x="539" y="69"/>
                </a:cubicBezTo>
                <a:cubicBezTo>
                  <a:pt x="539" y="69"/>
                  <a:pt x="539" y="69"/>
                  <a:pt x="539" y="69"/>
                </a:cubicBezTo>
                <a:cubicBezTo>
                  <a:pt x="494" y="69"/>
                  <a:pt x="449" y="78"/>
                  <a:pt x="404" y="86"/>
                </a:cubicBezTo>
                <a:cubicBezTo>
                  <a:pt x="404" y="86"/>
                  <a:pt x="404" y="86"/>
                  <a:pt x="404" y="86"/>
                </a:cubicBezTo>
                <a:cubicBezTo>
                  <a:pt x="404" y="82"/>
                  <a:pt x="404" y="82"/>
                  <a:pt x="404" y="82"/>
                </a:cubicBezTo>
                <a:cubicBezTo>
                  <a:pt x="439" y="72"/>
                  <a:pt x="476" y="62"/>
                  <a:pt x="514" y="59"/>
                </a:cubicBezTo>
                <a:cubicBezTo>
                  <a:pt x="514" y="59"/>
                  <a:pt x="514" y="59"/>
                  <a:pt x="514" y="59"/>
                </a:cubicBezTo>
                <a:cubicBezTo>
                  <a:pt x="501" y="55"/>
                  <a:pt x="488" y="52"/>
                  <a:pt x="476" y="50"/>
                </a:cubicBezTo>
                <a:cubicBezTo>
                  <a:pt x="476" y="50"/>
                  <a:pt x="476" y="50"/>
                  <a:pt x="476" y="50"/>
                </a:cubicBezTo>
                <a:cubicBezTo>
                  <a:pt x="467" y="54"/>
                  <a:pt x="458" y="57"/>
                  <a:pt x="453" y="60"/>
                </a:cubicBezTo>
                <a:cubicBezTo>
                  <a:pt x="453" y="60"/>
                  <a:pt x="453" y="60"/>
                  <a:pt x="453" y="60"/>
                </a:cubicBezTo>
                <a:cubicBezTo>
                  <a:pt x="450" y="57"/>
                  <a:pt x="450" y="57"/>
                  <a:pt x="450" y="57"/>
                </a:cubicBezTo>
                <a:cubicBezTo>
                  <a:pt x="452" y="54"/>
                  <a:pt x="455" y="50"/>
                  <a:pt x="457" y="47"/>
                </a:cubicBezTo>
                <a:cubicBezTo>
                  <a:pt x="457" y="47"/>
                  <a:pt x="457" y="47"/>
                  <a:pt x="457" y="47"/>
                </a:cubicBezTo>
                <a:cubicBezTo>
                  <a:pt x="454" y="46"/>
                  <a:pt x="452" y="46"/>
                  <a:pt x="449" y="46"/>
                </a:cubicBezTo>
                <a:cubicBezTo>
                  <a:pt x="449" y="46"/>
                  <a:pt x="449" y="46"/>
                  <a:pt x="449" y="46"/>
                </a:cubicBezTo>
                <a:cubicBezTo>
                  <a:pt x="438" y="57"/>
                  <a:pt x="425" y="66"/>
                  <a:pt x="412" y="73"/>
                </a:cubicBezTo>
                <a:cubicBezTo>
                  <a:pt x="412" y="73"/>
                  <a:pt x="412" y="73"/>
                  <a:pt x="412" y="73"/>
                </a:cubicBezTo>
                <a:cubicBezTo>
                  <a:pt x="410" y="70"/>
                  <a:pt x="410" y="70"/>
                  <a:pt x="410" y="70"/>
                </a:cubicBezTo>
                <a:cubicBezTo>
                  <a:pt x="420" y="62"/>
                  <a:pt x="430" y="53"/>
                  <a:pt x="441" y="45"/>
                </a:cubicBezTo>
                <a:cubicBezTo>
                  <a:pt x="441" y="45"/>
                  <a:pt x="441" y="45"/>
                  <a:pt x="441" y="45"/>
                </a:cubicBezTo>
                <a:cubicBezTo>
                  <a:pt x="424" y="43"/>
                  <a:pt x="407" y="42"/>
                  <a:pt x="391" y="41"/>
                </a:cubicBezTo>
                <a:cubicBezTo>
                  <a:pt x="391" y="41"/>
                  <a:pt x="391" y="41"/>
                  <a:pt x="391" y="41"/>
                </a:cubicBezTo>
                <a:cubicBezTo>
                  <a:pt x="277" y="39"/>
                  <a:pt x="174" y="74"/>
                  <a:pt x="54" y="102"/>
                </a:cubicBezTo>
                <a:cubicBezTo>
                  <a:pt x="54" y="102"/>
                  <a:pt x="54" y="102"/>
                  <a:pt x="54" y="102"/>
                </a:cubicBezTo>
                <a:cubicBezTo>
                  <a:pt x="52" y="99"/>
                  <a:pt x="52" y="99"/>
                  <a:pt x="52" y="99"/>
                </a:cubicBezTo>
                <a:cubicBezTo>
                  <a:pt x="72" y="86"/>
                  <a:pt x="97" y="75"/>
                  <a:pt x="127" y="64"/>
                </a:cubicBezTo>
                <a:cubicBezTo>
                  <a:pt x="127" y="64"/>
                  <a:pt x="127" y="64"/>
                  <a:pt x="127" y="64"/>
                </a:cubicBezTo>
                <a:cubicBezTo>
                  <a:pt x="99" y="72"/>
                  <a:pt x="71" y="82"/>
                  <a:pt x="44" y="94"/>
                </a:cubicBezTo>
                <a:cubicBezTo>
                  <a:pt x="44" y="94"/>
                  <a:pt x="44" y="94"/>
                  <a:pt x="44" y="94"/>
                </a:cubicBezTo>
                <a:cubicBezTo>
                  <a:pt x="43" y="90"/>
                  <a:pt x="43" y="90"/>
                  <a:pt x="43" y="90"/>
                </a:cubicBezTo>
                <a:cubicBezTo>
                  <a:pt x="52" y="85"/>
                  <a:pt x="62" y="80"/>
                  <a:pt x="73" y="75"/>
                </a:cubicBezTo>
                <a:cubicBezTo>
                  <a:pt x="73" y="75"/>
                  <a:pt x="73" y="75"/>
                  <a:pt x="73" y="75"/>
                </a:cubicBezTo>
                <a:cubicBezTo>
                  <a:pt x="47" y="86"/>
                  <a:pt x="23" y="98"/>
                  <a:pt x="2" y="111"/>
                </a:cubicBezTo>
                <a:cubicBezTo>
                  <a:pt x="2" y="111"/>
                  <a:pt x="2" y="111"/>
                  <a:pt x="2" y="111"/>
                </a:cubicBezTo>
                <a:cubicBezTo>
                  <a:pt x="2" y="111"/>
                  <a:pt x="2" y="111"/>
                  <a:pt x="2" y="111"/>
                </a:cubicBezTo>
                <a:cubicBezTo>
                  <a:pt x="0" y="107"/>
                  <a:pt x="0" y="107"/>
                  <a:pt x="0" y="107"/>
                </a:cubicBezTo>
                <a:cubicBezTo>
                  <a:pt x="87" y="53"/>
                  <a:pt x="223" y="18"/>
                  <a:pt x="348" y="21"/>
                </a:cubicBezTo>
                <a:cubicBezTo>
                  <a:pt x="348" y="21"/>
                  <a:pt x="348" y="21"/>
                  <a:pt x="348" y="21"/>
                </a:cubicBezTo>
                <a:cubicBezTo>
                  <a:pt x="353" y="21"/>
                  <a:pt x="359" y="21"/>
                  <a:pt x="365" y="21"/>
                </a:cubicBezTo>
                <a:cubicBezTo>
                  <a:pt x="365" y="21"/>
                  <a:pt x="365" y="21"/>
                  <a:pt x="365" y="21"/>
                </a:cubicBezTo>
                <a:cubicBezTo>
                  <a:pt x="373" y="21"/>
                  <a:pt x="381" y="21"/>
                  <a:pt x="389" y="21"/>
                </a:cubicBezTo>
                <a:cubicBezTo>
                  <a:pt x="389" y="21"/>
                  <a:pt x="389" y="21"/>
                  <a:pt x="389" y="21"/>
                </a:cubicBezTo>
                <a:cubicBezTo>
                  <a:pt x="414" y="21"/>
                  <a:pt x="438" y="23"/>
                  <a:pt x="460" y="27"/>
                </a:cubicBezTo>
                <a:cubicBezTo>
                  <a:pt x="460" y="27"/>
                  <a:pt x="460" y="27"/>
                  <a:pt x="460" y="27"/>
                </a:cubicBezTo>
                <a:cubicBezTo>
                  <a:pt x="466" y="20"/>
                  <a:pt x="472" y="11"/>
                  <a:pt x="477" y="3"/>
                </a:cubicBezTo>
                <a:cubicBezTo>
                  <a:pt x="477" y="3"/>
                  <a:pt x="477" y="3"/>
                  <a:pt x="477" y="3"/>
                </a:cubicBezTo>
                <a:cubicBezTo>
                  <a:pt x="478" y="0"/>
                  <a:pt x="478" y="0"/>
                  <a:pt x="478" y="0"/>
                </a:cubicBezTo>
                <a:cubicBezTo>
                  <a:pt x="480" y="2"/>
                  <a:pt x="480" y="2"/>
                  <a:pt x="480" y="2"/>
                </a:cubicBezTo>
                <a:cubicBezTo>
                  <a:pt x="501" y="18"/>
                  <a:pt x="524" y="38"/>
                  <a:pt x="543" y="58"/>
                </a:cubicBezTo>
                <a:cubicBezTo>
                  <a:pt x="543" y="58"/>
                  <a:pt x="543" y="58"/>
                  <a:pt x="543" y="58"/>
                </a:cubicBezTo>
                <a:cubicBezTo>
                  <a:pt x="547" y="61"/>
                  <a:pt x="547" y="61"/>
                  <a:pt x="547" y="61"/>
                </a:cubicBezTo>
                <a:cubicBezTo>
                  <a:pt x="545" y="61"/>
                  <a:pt x="545" y="61"/>
                  <a:pt x="545" y="61"/>
                </a:cubicBezTo>
                <a:cubicBezTo>
                  <a:pt x="547" y="63"/>
                  <a:pt x="548" y="64"/>
                  <a:pt x="550" y="66"/>
                </a:cubicBezTo>
                <a:cubicBezTo>
                  <a:pt x="550" y="66"/>
                  <a:pt x="550" y="66"/>
                  <a:pt x="550" y="66"/>
                </a:cubicBezTo>
                <a:cubicBezTo>
                  <a:pt x="553" y="70"/>
                  <a:pt x="553" y="70"/>
                  <a:pt x="553" y="70"/>
                </a:cubicBezTo>
                <a:cubicBezTo>
                  <a:pt x="548" y="70"/>
                  <a:pt x="548" y="70"/>
                  <a:pt x="548" y="70"/>
                </a:cubicBezTo>
                <a:close/>
                <a:moveTo>
                  <a:pt x="540" y="65"/>
                </a:moveTo>
                <a:cubicBezTo>
                  <a:pt x="541" y="65"/>
                  <a:pt x="542" y="65"/>
                  <a:pt x="544" y="65"/>
                </a:cubicBezTo>
                <a:cubicBezTo>
                  <a:pt x="544" y="65"/>
                  <a:pt x="544" y="65"/>
                  <a:pt x="544" y="65"/>
                </a:cubicBezTo>
                <a:cubicBezTo>
                  <a:pt x="542" y="64"/>
                  <a:pt x="541" y="63"/>
                  <a:pt x="540" y="61"/>
                </a:cubicBezTo>
                <a:cubicBezTo>
                  <a:pt x="540" y="61"/>
                  <a:pt x="540" y="61"/>
                  <a:pt x="540" y="61"/>
                </a:cubicBezTo>
                <a:cubicBezTo>
                  <a:pt x="537" y="61"/>
                  <a:pt x="533" y="61"/>
                  <a:pt x="530" y="62"/>
                </a:cubicBezTo>
                <a:cubicBezTo>
                  <a:pt x="530" y="62"/>
                  <a:pt x="530" y="62"/>
                  <a:pt x="530" y="62"/>
                </a:cubicBezTo>
                <a:cubicBezTo>
                  <a:pt x="529" y="63"/>
                  <a:pt x="529" y="63"/>
                  <a:pt x="529" y="63"/>
                </a:cubicBezTo>
                <a:cubicBezTo>
                  <a:pt x="528" y="63"/>
                  <a:pt x="526" y="62"/>
                  <a:pt x="525" y="62"/>
                </a:cubicBezTo>
                <a:cubicBezTo>
                  <a:pt x="525" y="62"/>
                  <a:pt x="525" y="62"/>
                  <a:pt x="525" y="62"/>
                </a:cubicBezTo>
                <a:cubicBezTo>
                  <a:pt x="500" y="63"/>
                  <a:pt x="476" y="68"/>
                  <a:pt x="452" y="73"/>
                </a:cubicBezTo>
                <a:cubicBezTo>
                  <a:pt x="452" y="73"/>
                  <a:pt x="452" y="73"/>
                  <a:pt x="452" y="73"/>
                </a:cubicBezTo>
                <a:cubicBezTo>
                  <a:pt x="481" y="69"/>
                  <a:pt x="510" y="65"/>
                  <a:pt x="540" y="65"/>
                </a:cubicBezTo>
                <a:close/>
                <a:moveTo>
                  <a:pt x="534" y="57"/>
                </a:moveTo>
                <a:cubicBezTo>
                  <a:pt x="524" y="51"/>
                  <a:pt x="513" y="46"/>
                  <a:pt x="500" y="42"/>
                </a:cubicBezTo>
                <a:cubicBezTo>
                  <a:pt x="500" y="42"/>
                  <a:pt x="500" y="42"/>
                  <a:pt x="500" y="42"/>
                </a:cubicBezTo>
                <a:cubicBezTo>
                  <a:pt x="500" y="42"/>
                  <a:pt x="500" y="43"/>
                  <a:pt x="500" y="43"/>
                </a:cubicBezTo>
                <a:cubicBezTo>
                  <a:pt x="500" y="43"/>
                  <a:pt x="500" y="43"/>
                  <a:pt x="500" y="43"/>
                </a:cubicBezTo>
                <a:cubicBezTo>
                  <a:pt x="505" y="45"/>
                  <a:pt x="510" y="47"/>
                  <a:pt x="515" y="49"/>
                </a:cubicBezTo>
                <a:cubicBezTo>
                  <a:pt x="515" y="49"/>
                  <a:pt x="515" y="49"/>
                  <a:pt x="515" y="49"/>
                </a:cubicBezTo>
                <a:cubicBezTo>
                  <a:pt x="515" y="49"/>
                  <a:pt x="515" y="49"/>
                  <a:pt x="515" y="49"/>
                </a:cubicBezTo>
                <a:cubicBezTo>
                  <a:pt x="516" y="49"/>
                  <a:pt x="516" y="49"/>
                  <a:pt x="516" y="49"/>
                </a:cubicBezTo>
                <a:cubicBezTo>
                  <a:pt x="516" y="49"/>
                  <a:pt x="516" y="50"/>
                  <a:pt x="516" y="51"/>
                </a:cubicBezTo>
                <a:cubicBezTo>
                  <a:pt x="516" y="51"/>
                  <a:pt x="516" y="51"/>
                  <a:pt x="516" y="51"/>
                </a:cubicBezTo>
                <a:cubicBezTo>
                  <a:pt x="516" y="52"/>
                  <a:pt x="516" y="52"/>
                  <a:pt x="516" y="52"/>
                </a:cubicBezTo>
                <a:cubicBezTo>
                  <a:pt x="516" y="52"/>
                  <a:pt x="516" y="52"/>
                  <a:pt x="516" y="52"/>
                </a:cubicBezTo>
                <a:cubicBezTo>
                  <a:pt x="520" y="54"/>
                  <a:pt x="524" y="56"/>
                  <a:pt x="527" y="58"/>
                </a:cubicBezTo>
                <a:cubicBezTo>
                  <a:pt x="527" y="58"/>
                  <a:pt x="527" y="58"/>
                  <a:pt x="527" y="58"/>
                </a:cubicBezTo>
                <a:cubicBezTo>
                  <a:pt x="529" y="57"/>
                  <a:pt x="532" y="57"/>
                  <a:pt x="534" y="57"/>
                </a:cubicBezTo>
                <a:close/>
                <a:moveTo>
                  <a:pt x="529" y="50"/>
                </a:moveTo>
                <a:cubicBezTo>
                  <a:pt x="514" y="34"/>
                  <a:pt x="496" y="19"/>
                  <a:pt x="479" y="7"/>
                </a:cubicBezTo>
                <a:cubicBezTo>
                  <a:pt x="479" y="7"/>
                  <a:pt x="479" y="7"/>
                  <a:pt x="479" y="7"/>
                </a:cubicBezTo>
                <a:cubicBezTo>
                  <a:pt x="476" y="12"/>
                  <a:pt x="473" y="17"/>
                  <a:pt x="469" y="22"/>
                </a:cubicBezTo>
                <a:cubicBezTo>
                  <a:pt x="469" y="22"/>
                  <a:pt x="469" y="22"/>
                  <a:pt x="469" y="22"/>
                </a:cubicBezTo>
                <a:cubicBezTo>
                  <a:pt x="471" y="21"/>
                  <a:pt x="472" y="19"/>
                  <a:pt x="474" y="18"/>
                </a:cubicBezTo>
                <a:cubicBezTo>
                  <a:pt x="474" y="18"/>
                  <a:pt x="474" y="18"/>
                  <a:pt x="474" y="18"/>
                </a:cubicBezTo>
                <a:cubicBezTo>
                  <a:pt x="477" y="21"/>
                  <a:pt x="477" y="21"/>
                  <a:pt x="477" y="21"/>
                </a:cubicBezTo>
                <a:cubicBezTo>
                  <a:pt x="475" y="23"/>
                  <a:pt x="473" y="26"/>
                  <a:pt x="471" y="30"/>
                </a:cubicBezTo>
                <a:cubicBezTo>
                  <a:pt x="471" y="30"/>
                  <a:pt x="471" y="30"/>
                  <a:pt x="471" y="30"/>
                </a:cubicBezTo>
                <a:cubicBezTo>
                  <a:pt x="477" y="31"/>
                  <a:pt x="482" y="32"/>
                  <a:pt x="487" y="33"/>
                </a:cubicBezTo>
                <a:cubicBezTo>
                  <a:pt x="487" y="33"/>
                  <a:pt x="487" y="33"/>
                  <a:pt x="487" y="33"/>
                </a:cubicBezTo>
                <a:cubicBezTo>
                  <a:pt x="489" y="33"/>
                  <a:pt x="491" y="34"/>
                  <a:pt x="492" y="34"/>
                </a:cubicBezTo>
                <a:cubicBezTo>
                  <a:pt x="492" y="34"/>
                  <a:pt x="492" y="34"/>
                  <a:pt x="492" y="34"/>
                </a:cubicBezTo>
                <a:cubicBezTo>
                  <a:pt x="492" y="35"/>
                  <a:pt x="492" y="35"/>
                  <a:pt x="492" y="35"/>
                </a:cubicBezTo>
                <a:cubicBezTo>
                  <a:pt x="494" y="35"/>
                  <a:pt x="495" y="36"/>
                  <a:pt x="497" y="36"/>
                </a:cubicBezTo>
                <a:cubicBezTo>
                  <a:pt x="497" y="36"/>
                  <a:pt x="497" y="36"/>
                  <a:pt x="497" y="36"/>
                </a:cubicBezTo>
                <a:cubicBezTo>
                  <a:pt x="497" y="36"/>
                  <a:pt x="498" y="36"/>
                  <a:pt x="498" y="35"/>
                </a:cubicBezTo>
                <a:cubicBezTo>
                  <a:pt x="498" y="35"/>
                  <a:pt x="498" y="35"/>
                  <a:pt x="498" y="35"/>
                </a:cubicBezTo>
                <a:cubicBezTo>
                  <a:pt x="500" y="34"/>
                  <a:pt x="500" y="34"/>
                  <a:pt x="500" y="34"/>
                </a:cubicBezTo>
                <a:cubicBezTo>
                  <a:pt x="501" y="36"/>
                  <a:pt x="501" y="36"/>
                  <a:pt x="501" y="36"/>
                </a:cubicBezTo>
                <a:cubicBezTo>
                  <a:pt x="502" y="36"/>
                  <a:pt x="502" y="37"/>
                  <a:pt x="502" y="38"/>
                </a:cubicBezTo>
                <a:cubicBezTo>
                  <a:pt x="502" y="38"/>
                  <a:pt x="502" y="38"/>
                  <a:pt x="502" y="38"/>
                </a:cubicBezTo>
                <a:cubicBezTo>
                  <a:pt x="502" y="38"/>
                  <a:pt x="502" y="38"/>
                  <a:pt x="502" y="38"/>
                </a:cubicBezTo>
                <a:cubicBezTo>
                  <a:pt x="502" y="38"/>
                  <a:pt x="502" y="38"/>
                  <a:pt x="502" y="38"/>
                </a:cubicBezTo>
                <a:cubicBezTo>
                  <a:pt x="511" y="41"/>
                  <a:pt x="521" y="45"/>
                  <a:pt x="529" y="50"/>
                </a:cubicBezTo>
                <a:close/>
                <a:moveTo>
                  <a:pt x="496" y="41"/>
                </a:moveTo>
                <a:cubicBezTo>
                  <a:pt x="496" y="41"/>
                  <a:pt x="496" y="42"/>
                  <a:pt x="495" y="42"/>
                </a:cubicBezTo>
                <a:cubicBezTo>
                  <a:pt x="495" y="42"/>
                  <a:pt x="495" y="42"/>
                  <a:pt x="495" y="42"/>
                </a:cubicBezTo>
                <a:cubicBezTo>
                  <a:pt x="495" y="42"/>
                  <a:pt x="496" y="42"/>
                  <a:pt x="496" y="42"/>
                </a:cubicBezTo>
                <a:cubicBezTo>
                  <a:pt x="496" y="42"/>
                  <a:pt x="496" y="42"/>
                  <a:pt x="496" y="42"/>
                </a:cubicBezTo>
                <a:cubicBezTo>
                  <a:pt x="496" y="42"/>
                  <a:pt x="496" y="42"/>
                  <a:pt x="496" y="41"/>
                </a:cubicBezTo>
                <a:close/>
                <a:moveTo>
                  <a:pt x="494" y="49"/>
                </a:moveTo>
                <a:cubicBezTo>
                  <a:pt x="494" y="50"/>
                  <a:pt x="494" y="50"/>
                  <a:pt x="494" y="50"/>
                </a:cubicBezTo>
                <a:cubicBezTo>
                  <a:pt x="494" y="50"/>
                  <a:pt x="494" y="50"/>
                  <a:pt x="494" y="50"/>
                </a:cubicBezTo>
                <a:cubicBezTo>
                  <a:pt x="494" y="50"/>
                  <a:pt x="494" y="50"/>
                  <a:pt x="494" y="50"/>
                </a:cubicBezTo>
                <a:cubicBezTo>
                  <a:pt x="494" y="49"/>
                  <a:pt x="494" y="49"/>
                  <a:pt x="494" y="49"/>
                </a:cubicBezTo>
                <a:close/>
                <a:moveTo>
                  <a:pt x="493" y="48"/>
                </a:moveTo>
                <a:cubicBezTo>
                  <a:pt x="493" y="49"/>
                  <a:pt x="493" y="49"/>
                  <a:pt x="493" y="49"/>
                </a:cubicBezTo>
                <a:cubicBezTo>
                  <a:pt x="493" y="48"/>
                  <a:pt x="493" y="48"/>
                  <a:pt x="493" y="48"/>
                </a:cubicBezTo>
                <a:close/>
                <a:moveTo>
                  <a:pt x="492" y="47"/>
                </a:moveTo>
                <a:cubicBezTo>
                  <a:pt x="490" y="47"/>
                  <a:pt x="489" y="46"/>
                  <a:pt x="487" y="46"/>
                </a:cubicBezTo>
                <a:cubicBezTo>
                  <a:pt x="487" y="46"/>
                  <a:pt x="487" y="46"/>
                  <a:pt x="487" y="46"/>
                </a:cubicBezTo>
                <a:cubicBezTo>
                  <a:pt x="486" y="46"/>
                  <a:pt x="484" y="47"/>
                  <a:pt x="483" y="47"/>
                </a:cubicBezTo>
                <a:cubicBezTo>
                  <a:pt x="483" y="47"/>
                  <a:pt x="483" y="47"/>
                  <a:pt x="483" y="47"/>
                </a:cubicBezTo>
                <a:cubicBezTo>
                  <a:pt x="486" y="48"/>
                  <a:pt x="488" y="48"/>
                  <a:pt x="491" y="49"/>
                </a:cubicBezTo>
                <a:cubicBezTo>
                  <a:pt x="491" y="49"/>
                  <a:pt x="491" y="49"/>
                  <a:pt x="491" y="49"/>
                </a:cubicBezTo>
                <a:cubicBezTo>
                  <a:pt x="491" y="48"/>
                  <a:pt x="492" y="48"/>
                  <a:pt x="492" y="47"/>
                </a:cubicBezTo>
                <a:close/>
                <a:moveTo>
                  <a:pt x="492" y="39"/>
                </a:moveTo>
                <a:cubicBezTo>
                  <a:pt x="490" y="39"/>
                  <a:pt x="488" y="38"/>
                  <a:pt x="487" y="38"/>
                </a:cubicBezTo>
                <a:cubicBezTo>
                  <a:pt x="487" y="38"/>
                  <a:pt x="487" y="38"/>
                  <a:pt x="487" y="38"/>
                </a:cubicBezTo>
                <a:cubicBezTo>
                  <a:pt x="484" y="37"/>
                  <a:pt x="482" y="37"/>
                  <a:pt x="480" y="37"/>
                </a:cubicBezTo>
                <a:cubicBezTo>
                  <a:pt x="480" y="37"/>
                  <a:pt x="480" y="37"/>
                  <a:pt x="480" y="37"/>
                </a:cubicBezTo>
                <a:cubicBezTo>
                  <a:pt x="483" y="38"/>
                  <a:pt x="486" y="39"/>
                  <a:pt x="490" y="40"/>
                </a:cubicBezTo>
                <a:cubicBezTo>
                  <a:pt x="490" y="40"/>
                  <a:pt x="490" y="40"/>
                  <a:pt x="490" y="40"/>
                </a:cubicBezTo>
                <a:cubicBezTo>
                  <a:pt x="490" y="40"/>
                  <a:pt x="491" y="39"/>
                  <a:pt x="492" y="39"/>
                </a:cubicBezTo>
                <a:close/>
                <a:moveTo>
                  <a:pt x="481" y="44"/>
                </a:moveTo>
                <a:cubicBezTo>
                  <a:pt x="476" y="42"/>
                  <a:pt x="471" y="41"/>
                  <a:pt x="466" y="40"/>
                </a:cubicBezTo>
                <a:cubicBezTo>
                  <a:pt x="466" y="40"/>
                  <a:pt x="466" y="40"/>
                  <a:pt x="466" y="40"/>
                </a:cubicBezTo>
                <a:cubicBezTo>
                  <a:pt x="465" y="41"/>
                  <a:pt x="464" y="42"/>
                  <a:pt x="463" y="44"/>
                </a:cubicBezTo>
                <a:cubicBezTo>
                  <a:pt x="463" y="44"/>
                  <a:pt x="463" y="44"/>
                  <a:pt x="463" y="44"/>
                </a:cubicBezTo>
                <a:cubicBezTo>
                  <a:pt x="467" y="44"/>
                  <a:pt x="472" y="45"/>
                  <a:pt x="476" y="46"/>
                </a:cubicBezTo>
                <a:cubicBezTo>
                  <a:pt x="476" y="46"/>
                  <a:pt x="476" y="46"/>
                  <a:pt x="476" y="46"/>
                </a:cubicBezTo>
                <a:cubicBezTo>
                  <a:pt x="477" y="45"/>
                  <a:pt x="479" y="45"/>
                  <a:pt x="481" y="44"/>
                </a:cubicBezTo>
                <a:close/>
                <a:moveTo>
                  <a:pt x="468" y="49"/>
                </a:moveTo>
                <a:cubicBezTo>
                  <a:pt x="466" y="48"/>
                  <a:pt x="463" y="48"/>
                  <a:pt x="461" y="48"/>
                </a:cubicBezTo>
                <a:cubicBezTo>
                  <a:pt x="461" y="48"/>
                  <a:pt x="461" y="48"/>
                  <a:pt x="461" y="48"/>
                </a:cubicBezTo>
                <a:cubicBezTo>
                  <a:pt x="460" y="49"/>
                  <a:pt x="459" y="51"/>
                  <a:pt x="458" y="53"/>
                </a:cubicBezTo>
                <a:cubicBezTo>
                  <a:pt x="458" y="53"/>
                  <a:pt x="458" y="53"/>
                  <a:pt x="458" y="53"/>
                </a:cubicBezTo>
                <a:cubicBezTo>
                  <a:pt x="461" y="51"/>
                  <a:pt x="465" y="50"/>
                  <a:pt x="468" y="49"/>
                </a:cubicBezTo>
                <a:close/>
                <a:moveTo>
                  <a:pt x="465" y="32"/>
                </a:moveTo>
                <a:cubicBezTo>
                  <a:pt x="464" y="32"/>
                  <a:pt x="464" y="32"/>
                  <a:pt x="463" y="32"/>
                </a:cubicBezTo>
                <a:cubicBezTo>
                  <a:pt x="463" y="32"/>
                  <a:pt x="463" y="32"/>
                  <a:pt x="463" y="32"/>
                </a:cubicBezTo>
                <a:cubicBezTo>
                  <a:pt x="463" y="32"/>
                  <a:pt x="463" y="33"/>
                  <a:pt x="462" y="33"/>
                </a:cubicBezTo>
                <a:cubicBezTo>
                  <a:pt x="462" y="33"/>
                  <a:pt x="462" y="33"/>
                  <a:pt x="462" y="33"/>
                </a:cubicBezTo>
                <a:cubicBezTo>
                  <a:pt x="463" y="33"/>
                  <a:pt x="464" y="33"/>
                  <a:pt x="465" y="33"/>
                </a:cubicBezTo>
                <a:cubicBezTo>
                  <a:pt x="465" y="33"/>
                  <a:pt x="465" y="33"/>
                  <a:pt x="465" y="33"/>
                </a:cubicBezTo>
                <a:cubicBezTo>
                  <a:pt x="465" y="33"/>
                  <a:pt x="465" y="33"/>
                  <a:pt x="465" y="32"/>
                </a:cubicBezTo>
                <a:close/>
                <a:moveTo>
                  <a:pt x="462" y="39"/>
                </a:moveTo>
                <a:cubicBezTo>
                  <a:pt x="460" y="38"/>
                  <a:pt x="459" y="38"/>
                  <a:pt x="457" y="37"/>
                </a:cubicBezTo>
                <a:cubicBezTo>
                  <a:pt x="457" y="37"/>
                  <a:pt x="457" y="37"/>
                  <a:pt x="457" y="37"/>
                </a:cubicBezTo>
                <a:cubicBezTo>
                  <a:pt x="456" y="39"/>
                  <a:pt x="454" y="41"/>
                  <a:pt x="453" y="42"/>
                </a:cubicBezTo>
                <a:cubicBezTo>
                  <a:pt x="453" y="42"/>
                  <a:pt x="453" y="42"/>
                  <a:pt x="453" y="42"/>
                </a:cubicBezTo>
                <a:cubicBezTo>
                  <a:pt x="455" y="42"/>
                  <a:pt x="457" y="43"/>
                  <a:pt x="459" y="43"/>
                </a:cubicBezTo>
                <a:cubicBezTo>
                  <a:pt x="459" y="43"/>
                  <a:pt x="459" y="43"/>
                  <a:pt x="459" y="43"/>
                </a:cubicBezTo>
                <a:cubicBezTo>
                  <a:pt x="460" y="42"/>
                  <a:pt x="461" y="40"/>
                  <a:pt x="462" y="39"/>
                </a:cubicBezTo>
                <a:close/>
                <a:moveTo>
                  <a:pt x="457" y="31"/>
                </a:moveTo>
                <a:cubicBezTo>
                  <a:pt x="446" y="29"/>
                  <a:pt x="435" y="28"/>
                  <a:pt x="423" y="27"/>
                </a:cubicBezTo>
                <a:cubicBezTo>
                  <a:pt x="423" y="27"/>
                  <a:pt x="423" y="27"/>
                  <a:pt x="423" y="27"/>
                </a:cubicBezTo>
                <a:cubicBezTo>
                  <a:pt x="425" y="27"/>
                  <a:pt x="426" y="27"/>
                  <a:pt x="428" y="27"/>
                </a:cubicBezTo>
                <a:cubicBezTo>
                  <a:pt x="428" y="27"/>
                  <a:pt x="428" y="27"/>
                  <a:pt x="428" y="27"/>
                </a:cubicBezTo>
                <a:cubicBezTo>
                  <a:pt x="437" y="29"/>
                  <a:pt x="447" y="30"/>
                  <a:pt x="456" y="32"/>
                </a:cubicBezTo>
                <a:cubicBezTo>
                  <a:pt x="456" y="32"/>
                  <a:pt x="456" y="32"/>
                  <a:pt x="456" y="32"/>
                </a:cubicBezTo>
                <a:cubicBezTo>
                  <a:pt x="457" y="32"/>
                  <a:pt x="457" y="31"/>
                  <a:pt x="457" y="31"/>
                </a:cubicBezTo>
                <a:close/>
                <a:moveTo>
                  <a:pt x="451" y="37"/>
                </a:moveTo>
                <a:cubicBezTo>
                  <a:pt x="360" y="36"/>
                  <a:pt x="268" y="36"/>
                  <a:pt x="180" y="52"/>
                </a:cubicBezTo>
                <a:cubicBezTo>
                  <a:pt x="180" y="52"/>
                  <a:pt x="180" y="52"/>
                  <a:pt x="180" y="52"/>
                </a:cubicBezTo>
                <a:cubicBezTo>
                  <a:pt x="136" y="64"/>
                  <a:pt x="96" y="79"/>
                  <a:pt x="66" y="95"/>
                </a:cubicBezTo>
                <a:cubicBezTo>
                  <a:pt x="66" y="95"/>
                  <a:pt x="66" y="95"/>
                  <a:pt x="66" y="95"/>
                </a:cubicBezTo>
                <a:cubicBezTo>
                  <a:pt x="180" y="68"/>
                  <a:pt x="281" y="35"/>
                  <a:pt x="391" y="37"/>
                </a:cubicBezTo>
                <a:cubicBezTo>
                  <a:pt x="391" y="37"/>
                  <a:pt x="391" y="37"/>
                  <a:pt x="391" y="37"/>
                </a:cubicBezTo>
                <a:cubicBezTo>
                  <a:pt x="409" y="38"/>
                  <a:pt x="427" y="39"/>
                  <a:pt x="445" y="41"/>
                </a:cubicBezTo>
                <a:cubicBezTo>
                  <a:pt x="445" y="41"/>
                  <a:pt x="445" y="41"/>
                  <a:pt x="445" y="41"/>
                </a:cubicBezTo>
                <a:cubicBezTo>
                  <a:pt x="447" y="40"/>
                  <a:pt x="449" y="38"/>
                  <a:pt x="451" y="37"/>
                </a:cubicBezTo>
                <a:close/>
                <a:moveTo>
                  <a:pt x="434" y="33"/>
                </a:moveTo>
                <a:cubicBezTo>
                  <a:pt x="432" y="32"/>
                  <a:pt x="429" y="32"/>
                  <a:pt x="427" y="31"/>
                </a:cubicBezTo>
                <a:cubicBezTo>
                  <a:pt x="427" y="31"/>
                  <a:pt x="427" y="31"/>
                  <a:pt x="427" y="31"/>
                </a:cubicBezTo>
                <a:cubicBezTo>
                  <a:pt x="406" y="29"/>
                  <a:pt x="383" y="27"/>
                  <a:pt x="360" y="27"/>
                </a:cubicBezTo>
                <a:cubicBezTo>
                  <a:pt x="360" y="27"/>
                  <a:pt x="360" y="27"/>
                  <a:pt x="360" y="27"/>
                </a:cubicBezTo>
                <a:cubicBezTo>
                  <a:pt x="350" y="26"/>
                  <a:pt x="340" y="27"/>
                  <a:pt x="330" y="27"/>
                </a:cubicBezTo>
                <a:cubicBezTo>
                  <a:pt x="330" y="27"/>
                  <a:pt x="330" y="27"/>
                  <a:pt x="330" y="27"/>
                </a:cubicBezTo>
                <a:cubicBezTo>
                  <a:pt x="297" y="29"/>
                  <a:pt x="264" y="34"/>
                  <a:pt x="232" y="40"/>
                </a:cubicBezTo>
                <a:cubicBezTo>
                  <a:pt x="232" y="40"/>
                  <a:pt x="232" y="40"/>
                  <a:pt x="232" y="40"/>
                </a:cubicBezTo>
                <a:cubicBezTo>
                  <a:pt x="298" y="32"/>
                  <a:pt x="366" y="32"/>
                  <a:pt x="434" y="33"/>
                </a:cubicBezTo>
                <a:close/>
                <a:moveTo>
                  <a:pt x="241" y="34"/>
                </a:moveTo>
                <a:cubicBezTo>
                  <a:pt x="196" y="41"/>
                  <a:pt x="153" y="51"/>
                  <a:pt x="115" y="63"/>
                </a:cubicBezTo>
                <a:cubicBezTo>
                  <a:pt x="115" y="63"/>
                  <a:pt x="115" y="63"/>
                  <a:pt x="115" y="63"/>
                </a:cubicBezTo>
                <a:cubicBezTo>
                  <a:pt x="136" y="57"/>
                  <a:pt x="157" y="52"/>
                  <a:pt x="179" y="48"/>
                </a:cubicBezTo>
                <a:cubicBezTo>
                  <a:pt x="179" y="48"/>
                  <a:pt x="179" y="48"/>
                  <a:pt x="179" y="48"/>
                </a:cubicBezTo>
                <a:cubicBezTo>
                  <a:pt x="199" y="43"/>
                  <a:pt x="220" y="38"/>
                  <a:pt x="241" y="34"/>
                </a:cubicBezTo>
                <a:close/>
              </a:path>
            </a:pathLst>
          </a:custGeom>
          <a:solidFill>
            <a:schemeClr val="bg1"/>
          </a:solidFill>
          <a:ln w="4667" cap="flat" cmpd="sng" algn="ctr">
            <a:noFill/>
            <a:prstDash val="solid"/>
            <a:round/>
            <a:headEnd type="none" w="med" len="med"/>
            <a:tailEnd type="none" w="med" len="med"/>
          </a:ln>
        </p:spPr>
        <p:txBody>
          <a:bodyPr vert="horz" wrap="square" lIns="35510" tIns="17757" rIns="35510" bIns="17757" numCol="1" anchor="t" anchorCtr="0" compatLnSpc="1">
            <a:prstTxWarp prst="textNoShape">
              <a:avLst/>
            </a:prstTxWarp>
          </a:bodyPr>
          <a:lstStyle/>
          <a:p>
            <a:endParaRPr lang="en-US">
              <a:solidFill>
                <a:srgbClr val="575757"/>
              </a:solidFill>
              <a:latin typeface="+mn-lt"/>
            </a:endParaRPr>
          </a:p>
        </p:txBody>
      </p:sp>
      <p:grpSp>
        <p:nvGrpSpPr>
          <p:cNvPr id="12" name="Group 11">
            <a:extLst>
              <a:ext uri="{FF2B5EF4-FFF2-40B4-BE49-F238E27FC236}">
                <a16:creationId xmlns:a16="http://schemas.microsoft.com/office/drawing/2014/main" id="{7F8F49DB-0226-4D1D-AA76-8E2CC9F9DF7F}"/>
              </a:ext>
            </a:extLst>
          </p:cNvPr>
          <p:cNvGrpSpPr/>
          <p:nvPr/>
        </p:nvGrpSpPr>
        <p:grpSpPr>
          <a:xfrm>
            <a:off x="10197616" y="4603567"/>
            <a:ext cx="1656041" cy="1477539"/>
            <a:chOff x="4704203" y="4209216"/>
            <a:chExt cx="1831807" cy="1645920"/>
          </a:xfrm>
        </p:grpSpPr>
        <p:pic>
          <p:nvPicPr>
            <p:cNvPr id="27" name="Picture 8" descr="Image result for quranic school">
              <a:extLst>
                <a:ext uri="{FF2B5EF4-FFF2-40B4-BE49-F238E27FC236}">
                  <a16:creationId xmlns:a16="http://schemas.microsoft.com/office/drawing/2014/main" id="{6BE76954-E564-4FC1-AB7B-B1FF0FD89591}"/>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6875" r="16875"/>
            <a:stretch/>
          </p:blipFill>
          <p:spPr bwMode="auto">
            <a:xfrm>
              <a:off x="4704203" y="4209216"/>
              <a:ext cx="1831807" cy="1645920"/>
            </a:xfrm>
            <a:prstGeom prst="rect">
              <a:avLst/>
            </a:prstGeom>
            <a:noFill/>
            <a:extLst>
              <a:ext uri="{909E8E84-426E-40dd-AFC4-6F175D3DCCD1}">
                <a14:hiddenFill xmlns:a14="http://schemas.microsoft.com/office/drawing/2010/main" xmlns="">
                  <a:solidFill>
                    <a:srgbClr val="FFFFFF"/>
                  </a:solidFill>
                </a14:hiddenFill>
              </a:ext>
            </a:extLst>
          </p:spPr>
        </p:pic>
        <p:sp>
          <p:nvSpPr>
            <p:cNvPr id="36" name="Rectangle 35">
              <a:extLst>
                <a:ext uri="{FF2B5EF4-FFF2-40B4-BE49-F238E27FC236}">
                  <a16:creationId xmlns:a16="http://schemas.microsoft.com/office/drawing/2014/main" id="{94B846B4-95FF-4911-ACCA-EF671B1D4478}"/>
                </a:ext>
              </a:extLst>
            </p:cNvPr>
            <p:cNvSpPr/>
            <p:nvPr/>
          </p:nvSpPr>
          <p:spPr>
            <a:xfrm>
              <a:off x="4704203" y="4209216"/>
              <a:ext cx="1831807" cy="1645920"/>
            </a:xfrm>
            <a:prstGeom prst="rect">
              <a:avLst/>
            </a:prstGeom>
            <a:solidFill>
              <a:srgbClr val="9A9A9A">
                <a:alpha val="79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a:solidFill>
                    <a:srgbClr val="FFFFFF"/>
                  </a:solidFill>
                </a:rPr>
                <a:t>Non-formal:</a:t>
              </a:r>
            </a:p>
            <a:p>
              <a:pPr algn="ctr"/>
              <a:r>
                <a:rPr lang="en-US">
                  <a:solidFill>
                    <a:srgbClr val="FFFFFF"/>
                  </a:solidFill>
                </a:rPr>
                <a:t>Prospective ed providers</a:t>
              </a:r>
              <a:endParaRPr lang="en-US" sz="2000">
                <a:solidFill>
                  <a:srgbClr val="FFFFFF"/>
                </a:solidFill>
              </a:endParaRPr>
            </a:p>
          </p:txBody>
        </p:sp>
      </p:grpSp>
      <p:sp>
        <p:nvSpPr>
          <p:cNvPr id="37" name="Freeform 57">
            <a:extLst>
              <a:ext uri="{FF2B5EF4-FFF2-40B4-BE49-F238E27FC236}">
                <a16:creationId xmlns:a16="http://schemas.microsoft.com/office/drawing/2014/main" id="{A8BA716B-C0FF-4105-ABAE-02D69F439160}"/>
              </a:ext>
            </a:extLst>
          </p:cNvPr>
          <p:cNvSpPr>
            <a:spLocks noEditPoints="1"/>
          </p:cNvSpPr>
          <p:nvPr/>
        </p:nvSpPr>
        <p:spPr bwMode="gray">
          <a:xfrm rot="5400000" flipV="1">
            <a:off x="8481860" y="3478388"/>
            <a:ext cx="1222578" cy="526163"/>
          </a:xfrm>
          <a:custGeom>
            <a:avLst/>
            <a:gdLst>
              <a:gd name="T0" fmla="*/ 404 w 553"/>
              <a:gd name="T1" fmla="*/ 86 h 111"/>
              <a:gd name="T2" fmla="*/ 514 w 553"/>
              <a:gd name="T3" fmla="*/ 59 h 111"/>
              <a:gd name="T4" fmla="*/ 453 w 553"/>
              <a:gd name="T5" fmla="*/ 60 h 111"/>
              <a:gd name="T6" fmla="*/ 449 w 553"/>
              <a:gd name="T7" fmla="*/ 46 h 111"/>
              <a:gd name="T8" fmla="*/ 410 w 553"/>
              <a:gd name="T9" fmla="*/ 70 h 111"/>
              <a:gd name="T10" fmla="*/ 391 w 553"/>
              <a:gd name="T11" fmla="*/ 41 h 111"/>
              <a:gd name="T12" fmla="*/ 127 w 553"/>
              <a:gd name="T13" fmla="*/ 64 h 111"/>
              <a:gd name="T14" fmla="*/ 43 w 553"/>
              <a:gd name="T15" fmla="*/ 90 h 111"/>
              <a:gd name="T16" fmla="*/ 2 w 553"/>
              <a:gd name="T17" fmla="*/ 111 h 111"/>
              <a:gd name="T18" fmla="*/ 348 w 553"/>
              <a:gd name="T19" fmla="*/ 21 h 111"/>
              <a:gd name="T20" fmla="*/ 389 w 553"/>
              <a:gd name="T21" fmla="*/ 21 h 111"/>
              <a:gd name="T22" fmla="*/ 477 w 553"/>
              <a:gd name="T23" fmla="*/ 3 h 111"/>
              <a:gd name="T24" fmla="*/ 543 w 553"/>
              <a:gd name="T25" fmla="*/ 58 h 111"/>
              <a:gd name="T26" fmla="*/ 550 w 553"/>
              <a:gd name="T27" fmla="*/ 66 h 111"/>
              <a:gd name="T28" fmla="*/ 544 w 553"/>
              <a:gd name="T29" fmla="*/ 65 h 111"/>
              <a:gd name="T30" fmla="*/ 530 w 553"/>
              <a:gd name="T31" fmla="*/ 62 h 111"/>
              <a:gd name="T32" fmla="*/ 525 w 553"/>
              <a:gd name="T33" fmla="*/ 62 h 111"/>
              <a:gd name="T34" fmla="*/ 534 w 553"/>
              <a:gd name="T35" fmla="*/ 57 h 111"/>
              <a:gd name="T36" fmla="*/ 500 w 553"/>
              <a:gd name="T37" fmla="*/ 43 h 111"/>
              <a:gd name="T38" fmla="*/ 516 w 553"/>
              <a:gd name="T39" fmla="*/ 49 h 111"/>
              <a:gd name="T40" fmla="*/ 516 w 553"/>
              <a:gd name="T41" fmla="*/ 52 h 111"/>
              <a:gd name="T42" fmla="*/ 529 w 553"/>
              <a:gd name="T43" fmla="*/ 50 h 111"/>
              <a:gd name="T44" fmla="*/ 469 w 553"/>
              <a:gd name="T45" fmla="*/ 22 h 111"/>
              <a:gd name="T46" fmla="*/ 471 w 553"/>
              <a:gd name="T47" fmla="*/ 30 h 111"/>
              <a:gd name="T48" fmla="*/ 492 w 553"/>
              <a:gd name="T49" fmla="*/ 34 h 111"/>
              <a:gd name="T50" fmla="*/ 497 w 553"/>
              <a:gd name="T51" fmla="*/ 36 h 111"/>
              <a:gd name="T52" fmla="*/ 501 w 553"/>
              <a:gd name="T53" fmla="*/ 36 h 111"/>
              <a:gd name="T54" fmla="*/ 502 w 553"/>
              <a:gd name="T55" fmla="*/ 38 h 111"/>
              <a:gd name="T56" fmla="*/ 495 w 553"/>
              <a:gd name="T57" fmla="*/ 42 h 111"/>
              <a:gd name="T58" fmla="*/ 494 w 553"/>
              <a:gd name="T59" fmla="*/ 49 h 111"/>
              <a:gd name="T60" fmla="*/ 494 w 553"/>
              <a:gd name="T61" fmla="*/ 49 h 111"/>
              <a:gd name="T62" fmla="*/ 492 w 553"/>
              <a:gd name="T63" fmla="*/ 47 h 111"/>
              <a:gd name="T64" fmla="*/ 483 w 553"/>
              <a:gd name="T65" fmla="*/ 47 h 111"/>
              <a:gd name="T66" fmla="*/ 492 w 553"/>
              <a:gd name="T67" fmla="*/ 39 h 111"/>
              <a:gd name="T68" fmla="*/ 480 w 553"/>
              <a:gd name="T69" fmla="*/ 37 h 111"/>
              <a:gd name="T70" fmla="*/ 481 w 553"/>
              <a:gd name="T71" fmla="*/ 44 h 111"/>
              <a:gd name="T72" fmla="*/ 463 w 553"/>
              <a:gd name="T73" fmla="*/ 44 h 111"/>
              <a:gd name="T74" fmla="*/ 468 w 553"/>
              <a:gd name="T75" fmla="*/ 49 h 111"/>
              <a:gd name="T76" fmla="*/ 458 w 553"/>
              <a:gd name="T77" fmla="*/ 53 h 111"/>
              <a:gd name="T78" fmla="*/ 463 w 553"/>
              <a:gd name="T79" fmla="*/ 32 h 111"/>
              <a:gd name="T80" fmla="*/ 465 w 553"/>
              <a:gd name="T81" fmla="*/ 33 h 111"/>
              <a:gd name="T82" fmla="*/ 457 w 553"/>
              <a:gd name="T83" fmla="*/ 37 h 111"/>
              <a:gd name="T84" fmla="*/ 459 w 553"/>
              <a:gd name="T85" fmla="*/ 43 h 111"/>
              <a:gd name="T86" fmla="*/ 423 w 553"/>
              <a:gd name="T87" fmla="*/ 27 h 111"/>
              <a:gd name="T88" fmla="*/ 456 w 553"/>
              <a:gd name="T89" fmla="*/ 32 h 111"/>
              <a:gd name="T90" fmla="*/ 180 w 553"/>
              <a:gd name="T91" fmla="*/ 52 h 111"/>
              <a:gd name="T92" fmla="*/ 391 w 553"/>
              <a:gd name="T93" fmla="*/ 37 h 111"/>
              <a:gd name="T94" fmla="*/ 434 w 553"/>
              <a:gd name="T95" fmla="*/ 33 h 111"/>
              <a:gd name="T96" fmla="*/ 360 w 553"/>
              <a:gd name="T97" fmla="*/ 27 h 111"/>
              <a:gd name="T98" fmla="*/ 232 w 553"/>
              <a:gd name="T99" fmla="*/ 40 h 111"/>
              <a:gd name="T100" fmla="*/ 115 w 553"/>
              <a:gd name="T101" fmla="*/ 6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3" h="111">
                <a:moveTo>
                  <a:pt x="548" y="70"/>
                </a:moveTo>
                <a:cubicBezTo>
                  <a:pt x="545" y="69"/>
                  <a:pt x="542" y="69"/>
                  <a:pt x="539" y="69"/>
                </a:cubicBezTo>
                <a:cubicBezTo>
                  <a:pt x="539" y="69"/>
                  <a:pt x="539" y="69"/>
                  <a:pt x="539" y="69"/>
                </a:cubicBezTo>
                <a:cubicBezTo>
                  <a:pt x="494" y="69"/>
                  <a:pt x="449" y="78"/>
                  <a:pt x="404" y="86"/>
                </a:cubicBezTo>
                <a:cubicBezTo>
                  <a:pt x="404" y="86"/>
                  <a:pt x="404" y="86"/>
                  <a:pt x="404" y="86"/>
                </a:cubicBezTo>
                <a:cubicBezTo>
                  <a:pt x="404" y="82"/>
                  <a:pt x="404" y="82"/>
                  <a:pt x="404" y="82"/>
                </a:cubicBezTo>
                <a:cubicBezTo>
                  <a:pt x="439" y="72"/>
                  <a:pt x="476" y="62"/>
                  <a:pt x="514" y="59"/>
                </a:cubicBezTo>
                <a:cubicBezTo>
                  <a:pt x="514" y="59"/>
                  <a:pt x="514" y="59"/>
                  <a:pt x="514" y="59"/>
                </a:cubicBezTo>
                <a:cubicBezTo>
                  <a:pt x="501" y="55"/>
                  <a:pt x="488" y="52"/>
                  <a:pt x="476" y="50"/>
                </a:cubicBezTo>
                <a:cubicBezTo>
                  <a:pt x="476" y="50"/>
                  <a:pt x="476" y="50"/>
                  <a:pt x="476" y="50"/>
                </a:cubicBezTo>
                <a:cubicBezTo>
                  <a:pt x="467" y="54"/>
                  <a:pt x="458" y="57"/>
                  <a:pt x="453" y="60"/>
                </a:cubicBezTo>
                <a:cubicBezTo>
                  <a:pt x="453" y="60"/>
                  <a:pt x="453" y="60"/>
                  <a:pt x="453" y="60"/>
                </a:cubicBezTo>
                <a:cubicBezTo>
                  <a:pt x="450" y="57"/>
                  <a:pt x="450" y="57"/>
                  <a:pt x="450" y="57"/>
                </a:cubicBezTo>
                <a:cubicBezTo>
                  <a:pt x="452" y="54"/>
                  <a:pt x="455" y="50"/>
                  <a:pt x="457" y="47"/>
                </a:cubicBezTo>
                <a:cubicBezTo>
                  <a:pt x="457" y="47"/>
                  <a:pt x="457" y="47"/>
                  <a:pt x="457" y="47"/>
                </a:cubicBezTo>
                <a:cubicBezTo>
                  <a:pt x="454" y="46"/>
                  <a:pt x="452" y="46"/>
                  <a:pt x="449" y="46"/>
                </a:cubicBezTo>
                <a:cubicBezTo>
                  <a:pt x="449" y="46"/>
                  <a:pt x="449" y="46"/>
                  <a:pt x="449" y="46"/>
                </a:cubicBezTo>
                <a:cubicBezTo>
                  <a:pt x="438" y="57"/>
                  <a:pt x="425" y="66"/>
                  <a:pt x="412" y="73"/>
                </a:cubicBezTo>
                <a:cubicBezTo>
                  <a:pt x="412" y="73"/>
                  <a:pt x="412" y="73"/>
                  <a:pt x="412" y="73"/>
                </a:cubicBezTo>
                <a:cubicBezTo>
                  <a:pt x="410" y="70"/>
                  <a:pt x="410" y="70"/>
                  <a:pt x="410" y="70"/>
                </a:cubicBezTo>
                <a:cubicBezTo>
                  <a:pt x="420" y="62"/>
                  <a:pt x="430" y="53"/>
                  <a:pt x="441" y="45"/>
                </a:cubicBezTo>
                <a:cubicBezTo>
                  <a:pt x="441" y="45"/>
                  <a:pt x="441" y="45"/>
                  <a:pt x="441" y="45"/>
                </a:cubicBezTo>
                <a:cubicBezTo>
                  <a:pt x="424" y="43"/>
                  <a:pt x="407" y="42"/>
                  <a:pt x="391" y="41"/>
                </a:cubicBezTo>
                <a:cubicBezTo>
                  <a:pt x="391" y="41"/>
                  <a:pt x="391" y="41"/>
                  <a:pt x="391" y="41"/>
                </a:cubicBezTo>
                <a:cubicBezTo>
                  <a:pt x="277" y="39"/>
                  <a:pt x="174" y="74"/>
                  <a:pt x="54" y="102"/>
                </a:cubicBezTo>
                <a:cubicBezTo>
                  <a:pt x="54" y="102"/>
                  <a:pt x="54" y="102"/>
                  <a:pt x="54" y="102"/>
                </a:cubicBezTo>
                <a:cubicBezTo>
                  <a:pt x="52" y="99"/>
                  <a:pt x="52" y="99"/>
                  <a:pt x="52" y="99"/>
                </a:cubicBezTo>
                <a:cubicBezTo>
                  <a:pt x="72" y="86"/>
                  <a:pt x="97" y="75"/>
                  <a:pt x="127" y="64"/>
                </a:cubicBezTo>
                <a:cubicBezTo>
                  <a:pt x="127" y="64"/>
                  <a:pt x="127" y="64"/>
                  <a:pt x="127" y="64"/>
                </a:cubicBezTo>
                <a:cubicBezTo>
                  <a:pt x="99" y="72"/>
                  <a:pt x="71" y="82"/>
                  <a:pt x="44" y="94"/>
                </a:cubicBezTo>
                <a:cubicBezTo>
                  <a:pt x="44" y="94"/>
                  <a:pt x="44" y="94"/>
                  <a:pt x="44" y="94"/>
                </a:cubicBezTo>
                <a:cubicBezTo>
                  <a:pt x="43" y="90"/>
                  <a:pt x="43" y="90"/>
                  <a:pt x="43" y="90"/>
                </a:cubicBezTo>
                <a:cubicBezTo>
                  <a:pt x="52" y="85"/>
                  <a:pt x="62" y="80"/>
                  <a:pt x="73" y="75"/>
                </a:cubicBezTo>
                <a:cubicBezTo>
                  <a:pt x="73" y="75"/>
                  <a:pt x="73" y="75"/>
                  <a:pt x="73" y="75"/>
                </a:cubicBezTo>
                <a:cubicBezTo>
                  <a:pt x="47" y="86"/>
                  <a:pt x="23" y="98"/>
                  <a:pt x="2" y="111"/>
                </a:cubicBezTo>
                <a:cubicBezTo>
                  <a:pt x="2" y="111"/>
                  <a:pt x="2" y="111"/>
                  <a:pt x="2" y="111"/>
                </a:cubicBezTo>
                <a:cubicBezTo>
                  <a:pt x="2" y="111"/>
                  <a:pt x="2" y="111"/>
                  <a:pt x="2" y="111"/>
                </a:cubicBezTo>
                <a:cubicBezTo>
                  <a:pt x="0" y="107"/>
                  <a:pt x="0" y="107"/>
                  <a:pt x="0" y="107"/>
                </a:cubicBezTo>
                <a:cubicBezTo>
                  <a:pt x="87" y="53"/>
                  <a:pt x="223" y="18"/>
                  <a:pt x="348" y="21"/>
                </a:cubicBezTo>
                <a:cubicBezTo>
                  <a:pt x="348" y="21"/>
                  <a:pt x="348" y="21"/>
                  <a:pt x="348" y="21"/>
                </a:cubicBezTo>
                <a:cubicBezTo>
                  <a:pt x="353" y="21"/>
                  <a:pt x="359" y="21"/>
                  <a:pt x="365" y="21"/>
                </a:cubicBezTo>
                <a:cubicBezTo>
                  <a:pt x="365" y="21"/>
                  <a:pt x="365" y="21"/>
                  <a:pt x="365" y="21"/>
                </a:cubicBezTo>
                <a:cubicBezTo>
                  <a:pt x="373" y="21"/>
                  <a:pt x="381" y="21"/>
                  <a:pt x="389" y="21"/>
                </a:cubicBezTo>
                <a:cubicBezTo>
                  <a:pt x="389" y="21"/>
                  <a:pt x="389" y="21"/>
                  <a:pt x="389" y="21"/>
                </a:cubicBezTo>
                <a:cubicBezTo>
                  <a:pt x="414" y="21"/>
                  <a:pt x="438" y="23"/>
                  <a:pt x="460" y="27"/>
                </a:cubicBezTo>
                <a:cubicBezTo>
                  <a:pt x="460" y="27"/>
                  <a:pt x="460" y="27"/>
                  <a:pt x="460" y="27"/>
                </a:cubicBezTo>
                <a:cubicBezTo>
                  <a:pt x="466" y="20"/>
                  <a:pt x="472" y="11"/>
                  <a:pt x="477" y="3"/>
                </a:cubicBezTo>
                <a:cubicBezTo>
                  <a:pt x="477" y="3"/>
                  <a:pt x="477" y="3"/>
                  <a:pt x="477" y="3"/>
                </a:cubicBezTo>
                <a:cubicBezTo>
                  <a:pt x="478" y="0"/>
                  <a:pt x="478" y="0"/>
                  <a:pt x="478" y="0"/>
                </a:cubicBezTo>
                <a:cubicBezTo>
                  <a:pt x="480" y="2"/>
                  <a:pt x="480" y="2"/>
                  <a:pt x="480" y="2"/>
                </a:cubicBezTo>
                <a:cubicBezTo>
                  <a:pt x="501" y="18"/>
                  <a:pt x="524" y="38"/>
                  <a:pt x="543" y="58"/>
                </a:cubicBezTo>
                <a:cubicBezTo>
                  <a:pt x="543" y="58"/>
                  <a:pt x="543" y="58"/>
                  <a:pt x="543" y="58"/>
                </a:cubicBezTo>
                <a:cubicBezTo>
                  <a:pt x="547" y="61"/>
                  <a:pt x="547" y="61"/>
                  <a:pt x="547" y="61"/>
                </a:cubicBezTo>
                <a:cubicBezTo>
                  <a:pt x="545" y="61"/>
                  <a:pt x="545" y="61"/>
                  <a:pt x="545" y="61"/>
                </a:cubicBezTo>
                <a:cubicBezTo>
                  <a:pt x="547" y="63"/>
                  <a:pt x="548" y="64"/>
                  <a:pt x="550" y="66"/>
                </a:cubicBezTo>
                <a:cubicBezTo>
                  <a:pt x="550" y="66"/>
                  <a:pt x="550" y="66"/>
                  <a:pt x="550" y="66"/>
                </a:cubicBezTo>
                <a:cubicBezTo>
                  <a:pt x="553" y="70"/>
                  <a:pt x="553" y="70"/>
                  <a:pt x="553" y="70"/>
                </a:cubicBezTo>
                <a:cubicBezTo>
                  <a:pt x="548" y="70"/>
                  <a:pt x="548" y="70"/>
                  <a:pt x="548" y="70"/>
                </a:cubicBezTo>
                <a:close/>
                <a:moveTo>
                  <a:pt x="540" y="65"/>
                </a:moveTo>
                <a:cubicBezTo>
                  <a:pt x="541" y="65"/>
                  <a:pt x="542" y="65"/>
                  <a:pt x="544" y="65"/>
                </a:cubicBezTo>
                <a:cubicBezTo>
                  <a:pt x="544" y="65"/>
                  <a:pt x="544" y="65"/>
                  <a:pt x="544" y="65"/>
                </a:cubicBezTo>
                <a:cubicBezTo>
                  <a:pt x="542" y="64"/>
                  <a:pt x="541" y="63"/>
                  <a:pt x="540" y="61"/>
                </a:cubicBezTo>
                <a:cubicBezTo>
                  <a:pt x="540" y="61"/>
                  <a:pt x="540" y="61"/>
                  <a:pt x="540" y="61"/>
                </a:cubicBezTo>
                <a:cubicBezTo>
                  <a:pt x="537" y="61"/>
                  <a:pt x="533" y="61"/>
                  <a:pt x="530" y="62"/>
                </a:cubicBezTo>
                <a:cubicBezTo>
                  <a:pt x="530" y="62"/>
                  <a:pt x="530" y="62"/>
                  <a:pt x="530" y="62"/>
                </a:cubicBezTo>
                <a:cubicBezTo>
                  <a:pt x="529" y="63"/>
                  <a:pt x="529" y="63"/>
                  <a:pt x="529" y="63"/>
                </a:cubicBezTo>
                <a:cubicBezTo>
                  <a:pt x="528" y="63"/>
                  <a:pt x="526" y="62"/>
                  <a:pt x="525" y="62"/>
                </a:cubicBezTo>
                <a:cubicBezTo>
                  <a:pt x="525" y="62"/>
                  <a:pt x="525" y="62"/>
                  <a:pt x="525" y="62"/>
                </a:cubicBezTo>
                <a:cubicBezTo>
                  <a:pt x="500" y="63"/>
                  <a:pt x="476" y="68"/>
                  <a:pt x="452" y="73"/>
                </a:cubicBezTo>
                <a:cubicBezTo>
                  <a:pt x="452" y="73"/>
                  <a:pt x="452" y="73"/>
                  <a:pt x="452" y="73"/>
                </a:cubicBezTo>
                <a:cubicBezTo>
                  <a:pt x="481" y="69"/>
                  <a:pt x="510" y="65"/>
                  <a:pt x="540" y="65"/>
                </a:cubicBezTo>
                <a:close/>
                <a:moveTo>
                  <a:pt x="534" y="57"/>
                </a:moveTo>
                <a:cubicBezTo>
                  <a:pt x="524" y="51"/>
                  <a:pt x="513" y="46"/>
                  <a:pt x="500" y="42"/>
                </a:cubicBezTo>
                <a:cubicBezTo>
                  <a:pt x="500" y="42"/>
                  <a:pt x="500" y="42"/>
                  <a:pt x="500" y="42"/>
                </a:cubicBezTo>
                <a:cubicBezTo>
                  <a:pt x="500" y="42"/>
                  <a:pt x="500" y="43"/>
                  <a:pt x="500" y="43"/>
                </a:cubicBezTo>
                <a:cubicBezTo>
                  <a:pt x="500" y="43"/>
                  <a:pt x="500" y="43"/>
                  <a:pt x="500" y="43"/>
                </a:cubicBezTo>
                <a:cubicBezTo>
                  <a:pt x="505" y="45"/>
                  <a:pt x="510" y="47"/>
                  <a:pt x="515" y="49"/>
                </a:cubicBezTo>
                <a:cubicBezTo>
                  <a:pt x="515" y="49"/>
                  <a:pt x="515" y="49"/>
                  <a:pt x="515" y="49"/>
                </a:cubicBezTo>
                <a:cubicBezTo>
                  <a:pt x="515" y="49"/>
                  <a:pt x="515" y="49"/>
                  <a:pt x="515" y="49"/>
                </a:cubicBezTo>
                <a:cubicBezTo>
                  <a:pt x="516" y="49"/>
                  <a:pt x="516" y="49"/>
                  <a:pt x="516" y="49"/>
                </a:cubicBezTo>
                <a:cubicBezTo>
                  <a:pt x="516" y="49"/>
                  <a:pt x="516" y="50"/>
                  <a:pt x="516" y="51"/>
                </a:cubicBezTo>
                <a:cubicBezTo>
                  <a:pt x="516" y="51"/>
                  <a:pt x="516" y="51"/>
                  <a:pt x="516" y="51"/>
                </a:cubicBezTo>
                <a:cubicBezTo>
                  <a:pt x="516" y="52"/>
                  <a:pt x="516" y="52"/>
                  <a:pt x="516" y="52"/>
                </a:cubicBezTo>
                <a:cubicBezTo>
                  <a:pt x="516" y="52"/>
                  <a:pt x="516" y="52"/>
                  <a:pt x="516" y="52"/>
                </a:cubicBezTo>
                <a:cubicBezTo>
                  <a:pt x="520" y="54"/>
                  <a:pt x="524" y="56"/>
                  <a:pt x="527" y="58"/>
                </a:cubicBezTo>
                <a:cubicBezTo>
                  <a:pt x="527" y="58"/>
                  <a:pt x="527" y="58"/>
                  <a:pt x="527" y="58"/>
                </a:cubicBezTo>
                <a:cubicBezTo>
                  <a:pt x="529" y="57"/>
                  <a:pt x="532" y="57"/>
                  <a:pt x="534" y="57"/>
                </a:cubicBezTo>
                <a:close/>
                <a:moveTo>
                  <a:pt x="529" y="50"/>
                </a:moveTo>
                <a:cubicBezTo>
                  <a:pt x="514" y="34"/>
                  <a:pt x="496" y="19"/>
                  <a:pt x="479" y="7"/>
                </a:cubicBezTo>
                <a:cubicBezTo>
                  <a:pt x="479" y="7"/>
                  <a:pt x="479" y="7"/>
                  <a:pt x="479" y="7"/>
                </a:cubicBezTo>
                <a:cubicBezTo>
                  <a:pt x="476" y="12"/>
                  <a:pt x="473" y="17"/>
                  <a:pt x="469" y="22"/>
                </a:cubicBezTo>
                <a:cubicBezTo>
                  <a:pt x="469" y="22"/>
                  <a:pt x="469" y="22"/>
                  <a:pt x="469" y="22"/>
                </a:cubicBezTo>
                <a:cubicBezTo>
                  <a:pt x="471" y="21"/>
                  <a:pt x="472" y="19"/>
                  <a:pt x="474" y="18"/>
                </a:cubicBezTo>
                <a:cubicBezTo>
                  <a:pt x="474" y="18"/>
                  <a:pt x="474" y="18"/>
                  <a:pt x="474" y="18"/>
                </a:cubicBezTo>
                <a:cubicBezTo>
                  <a:pt x="477" y="21"/>
                  <a:pt x="477" y="21"/>
                  <a:pt x="477" y="21"/>
                </a:cubicBezTo>
                <a:cubicBezTo>
                  <a:pt x="475" y="23"/>
                  <a:pt x="473" y="26"/>
                  <a:pt x="471" y="30"/>
                </a:cubicBezTo>
                <a:cubicBezTo>
                  <a:pt x="471" y="30"/>
                  <a:pt x="471" y="30"/>
                  <a:pt x="471" y="30"/>
                </a:cubicBezTo>
                <a:cubicBezTo>
                  <a:pt x="477" y="31"/>
                  <a:pt x="482" y="32"/>
                  <a:pt x="487" y="33"/>
                </a:cubicBezTo>
                <a:cubicBezTo>
                  <a:pt x="487" y="33"/>
                  <a:pt x="487" y="33"/>
                  <a:pt x="487" y="33"/>
                </a:cubicBezTo>
                <a:cubicBezTo>
                  <a:pt x="489" y="33"/>
                  <a:pt x="491" y="34"/>
                  <a:pt x="492" y="34"/>
                </a:cubicBezTo>
                <a:cubicBezTo>
                  <a:pt x="492" y="34"/>
                  <a:pt x="492" y="34"/>
                  <a:pt x="492" y="34"/>
                </a:cubicBezTo>
                <a:cubicBezTo>
                  <a:pt x="492" y="35"/>
                  <a:pt x="492" y="35"/>
                  <a:pt x="492" y="35"/>
                </a:cubicBezTo>
                <a:cubicBezTo>
                  <a:pt x="494" y="35"/>
                  <a:pt x="495" y="36"/>
                  <a:pt x="497" y="36"/>
                </a:cubicBezTo>
                <a:cubicBezTo>
                  <a:pt x="497" y="36"/>
                  <a:pt x="497" y="36"/>
                  <a:pt x="497" y="36"/>
                </a:cubicBezTo>
                <a:cubicBezTo>
                  <a:pt x="497" y="36"/>
                  <a:pt x="498" y="36"/>
                  <a:pt x="498" y="35"/>
                </a:cubicBezTo>
                <a:cubicBezTo>
                  <a:pt x="498" y="35"/>
                  <a:pt x="498" y="35"/>
                  <a:pt x="498" y="35"/>
                </a:cubicBezTo>
                <a:cubicBezTo>
                  <a:pt x="500" y="34"/>
                  <a:pt x="500" y="34"/>
                  <a:pt x="500" y="34"/>
                </a:cubicBezTo>
                <a:cubicBezTo>
                  <a:pt x="501" y="36"/>
                  <a:pt x="501" y="36"/>
                  <a:pt x="501" y="36"/>
                </a:cubicBezTo>
                <a:cubicBezTo>
                  <a:pt x="502" y="36"/>
                  <a:pt x="502" y="37"/>
                  <a:pt x="502" y="38"/>
                </a:cubicBezTo>
                <a:cubicBezTo>
                  <a:pt x="502" y="38"/>
                  <a:pt x="502" y="38"/>
                  <a:pt x="502" y="38"/>
                </a:cubicBezTo>
                <a:cubicBezTo>
                  <a:pt x="502" y="38"/>
                  <a:pt x="502" y="38"/>
                  <a:pt x="502" y="38"/>
                </a:cubicBezTo>
                <a:cubicBezTo>
                  <a:pt x="502" y="38"/>
                  <a:pt x="502" y="38"/>
                  <a:pt x="502" y="38"/>
                </a:cubicBezTo>
                <a:cubicBezTo>
                  <a:pt x="511" y="41"/>
                  <a:pt x="521" y="45"/>
                  <a:pt x="529" y="50"/>
                </a:cubicBezTo>
                <a:close/>
                <a:moveTo>
                  <a:pt x="496" y="41"/>
                </a:moveTo>
                <a:cubicBezTo>
                  <a:pt x="496" y="41"/>
                  <a:pt x="496" y="42"/>
                  <a:pt x="495" y="42"/>
                </a:cubicBezTo>
                <a:cubicBezTo>
                  <a:pt x="495" y="42"/>
                  <a:pt x="495" y="42"/>
                  <a:pt x="495" y="42"/>
                </a:cubicBezTo>
                <a:cubicBezTo>
                  <a:pt x="495" y="42"/>
                  <a:pt x="496" y="42"/>
                  <a:pt x="496" y="42"/>
                </a:cubicBezTo>
                <a:cubicBezTo>
                  <a:pt x="496" y="42"/>
                  <a:pt x="496" y="42"/>
                  <a:pt x="496" y="42"/>
                </a:cubicBezTo>
                <a:cubicBezTo>
                  <a:pt x="496" y="42"/>
                  <a:pt x="496" y="42"/>
                  <a:pt x="496" y="41"/>
                </a:cubicBezTo>
                <a:close/>
                <a:moveTo>
                  <a:pt x="494" y="49"/>
                </a:moveTo>
                <a:cubicBezTo>
                  <a:pt x="494" y="50"/>
                  <a:pt x="494" y="50"/>
                  <a:pt x="494" y="50"/>
                </a:cubicBezTo>
                <a:cubicBezTo>
                  <a:pt x="494" y="50"/>
                  <a:pt x="494" y="50"/>
                  <a:pt x="494" y="50"/>
                </a:cubicBezTo>
                <a:cubicBezTo>
                  <a:pt x="494" y="50"/>
                  <a:pt x="494" y="50"/>
                  <a:pt x="494" y="50"/>
                </a:cubicBezTo>
                <a:cubicBezTo>
                  <a:pt x="494" y="49"/>
                  <a:pt x="494" y="49"/>
                  <a:pt x="494" y="49"/>
                </a:cubicBezTo>
                <a:close/>
                <a:moveTo>
                  <a:pt x="493" y="48"/>
                </a:moveTo>
                <a:cubicBezTo>
                  <a:pt x="493" y="49"/>
                  <a:pt x="493" y="49"/>
                  <a:pt x="493" y="49"/>
                </a:cubicBezTo>
                <a:cubicBezTo>
                  <a:pt x="493" y="48"/>
                  <a:pt x="493" y="48"/>
                  <a:pt x="493" y="48"/>
                </a:cubicBezTo>
                <a:close/>
                <a:moveTo>
                  <a:pt x="492" y="47"/>
                </a:moveTo>
                <a:cubicBezTo>
                  <a:pt x="490" y="47"/>
                  <a:pt x="489" y="46"/>
                  <a:pt x="487" y="46"/>
                </a:cubicBezTo>
                <a:cubicBezTo>
                  <a:pt x="487" y="46"/>
                  <a:pt x="487" y="46"/>
                  <a:pt x="487" y="46"/>
                </a:cubicBezTo>
                <a:cubicBezTo>
                  <a:pt x="486" y="46"/>
                  <a:pt x="484" y="47"/>
                  <a:pt x="483" y="47"/>
                </a:cubicBezTo>
                <a:cubicBezTo>
                  <a:pt x="483" y="47"/>
                  <a:pt x="483" y="47"/>
                  <a:pt x="483" y="47"/>
                </a:cubicBezTo>
                <a:cubicBezTo>
                  <a:pt x="486" y="48"/>
                  <a:pt x="488" y="48"/>
                  <a:pt x="491" y="49"/>
                </a:cubicBezTo>
                <a:cubicBezTo>
                  <a:pt x="491" y="49"/>
                  <a:pt x="491" y="49"/>
                  <a:pt x="491" y="49"/>
                </a:cubicBezTo>
                <a:cubicBezTo>
                  <a:pt x="491" y="48"/>
                  <a:pt x="492" y="48"/>
                  <a:pt x="492" y="47"/>
                </a:cubicBezTo>
                <a:close/>
                <a:moveTo>
                  <a:pt x="492" y="39"/>
                </a:moveTo>
                <a:cubicBezTo>
                  <a:pt x="490" y="39"/>
                  <a:pt x="488" y="38"/>
                  <a:pt x="487" y="38"/>
                </a:cubicBezTo>
                <a:cubicBezTo>
                  <a:pt x="487" y="38"/>
                  <a:pt x="487" y="38"/>
                  <a:pt x="487" y="38"/>
                </a:cubicBezTo>
                <a:cubicBezTo>
                  <a:pt x="484" y="37"/>
                  <a:pt x="482" y="37"/>
                  <a:pt x="480" y="37"/>
                </a:cubicBezTo>
                <a:cubicBezTo>
                  <a:pt x="480" y="37"/>
                  <a:pt x="480" y="37"/>
                  <a:pt x="480" y="37"/>
                </a:cubicBezTo>
                <a:cubicBezTo>
                  <a:pt x="483" y="38"/>
                  <a:pt x="486" y="39"/>
                  <a:pt x="490" y="40"/>
                </a:cubicBezTo>
                <a:cubicBezTo>
                  <a:pt x="490" y="40"/>
                  <a:pt x="490" y="40"/>
                  <a:pt x="490" y="40"/>
                </a:cubicBezTo>
                <a:cubicBezTo>
                  <a:pt x="490" y="40"/>
                  <a:pt x="491" y="39"/>
                  <a:pt x="492" y="39"/>
                </a:cubicBezTo>
                <a:close/>
                <a:moveTo>
                  <a:pt x="481" y="44"/>
                </a:moveTo>
                <a:cubicBezTo>
                  <a:pt x="476" y="42"/>
                  <a:pt x="471" y="41"/>
                  <a:pt x="466" y="40"/>
                </a:cubicBezTo>
                <a:cubicBezTo>
                  <a:pt x="466" y="40"/>
                  <a:pt x="466" y="40"/>
                  <a:pt x="466" y="40"/>
                </a:cubicBezTo>
                <a:cubicBezTo>
                  <a:pt x="465" y="41"/>
                  <a:pt x="464" y="42"/>
                  <a:pt x="463" y="44"/>
                </a:cubicBezTo>
                <a:cubicBezTo>
                  <a:pt x="463" y="44"/>
                  <a:pt x="463" y="44"/>
                  <a:pt x="463" y="44"/>
                </a:cubicBezTo>
                <a:cubicBezTo>
                  <a:pt x="467" y="44"/>
                  <a:pt x="472" y="45"/>
                  <a:pt x="476" y="46"/>
                </a:cubicBezTo>
                <a:cubicBezTo>
                  <a:pt x="476" y="46"/>
                  <a:pt x="476" y="46"/>
                  <a:pt x="476" y="46"/>
                </a:cubicBezTo>
                <a:cubicBezTo>
                  <a:pt x="477" y="45"/>
                  <a:pt x="479" y="45"/>
                  <a:pt x="481" y="44"/>
                </a:cubicBezTo>
                <a:close/>
                <a:moveTo>
                  <a:pt x="468" y="49"/>
                </a:moveTo>
                <a:cubicBezTo>
                  <a:pt x="466" y="48"/>
                  <a:pt x="463" y="48"/>
                  <a:pt x="461" y="48"/>
                </a:cubicBezTo>
                <a:cubicBezTo>
                  <a:pt x="461" y="48"/>
                  <a:pt x="461" y="48"/>
                  <a:pt x="461" y="48"/>
                </a:cubicBezTo>
                <a:cubicBezTo>
                  <a:pt x="460" y="49"/>
                  <a:pt x="459" y="51"/>
                  <a:pt x="458" y="53"/>
                </a:cubicBezTo>
                <a:cubicBezTo>
                  <a:pt x="458" y="53"/>
                  <a:pt x="458" y="53"/>
                  <a:pt x="458" y="53"/>
                </a:cubicBezTo>
                <a:cubicBezTo>
                  <a:pt x="461" y="51"/>
                  <a:pt x="465" y="50"/>
                  <a:pt x="468" y="49"/>
                </a:cubicBezTo>
                <a:close/>
                <a:moveTo>
                  <a:pt x="465" y="32"/>
                </a:moveTo>
                <a:cubicBezTo>
                  <a:pt x="464" y="32"/>
                  <a:pt x="464" y="32"/>
                  <a:pt x="463" y="32"/>
                </a:cubicBezTo>
                <a:cubicBezTo>
                  <a:pt x="463" y="32"/>
                  <a:pt x="463" y="32"/>
                  <a:pt x="463" y="32"/>
                </a:cubicBezTo>
                <a:cubicBezTo>
                  <a:pt x="463" y="32"/>
                  <a:pt x="463" y="33"/>
                  <a:pt x="462" y="33"/>
                </a:cubicBezTo>
                <a:cubicBezTo>
                  <a:pt x="462" y="33"/>
                  <a:pt x="462" y="33"/>
                  <a:pt x="462" y="33"/>
                </a:cubicBezTo>
                <a:cubicBezTo>
                  <a:pt x="463" y="33"/>
                  <a:pt x="464" y="33"/>
                  <a:pt x="465" y="33"/>
                </a:cubicBezTo>
                <a:cubicBezTo>
                  <a:pt x="465" y="33"/>
                  <a:pt x="465" y="33"/>
                  <a:pt x="465" y="33"/>
                </a:cubicBezTo>
                <a:cubicBezTo>
                  <a:pt x="465" y="33"/>
                  <a:pt x="465" y="33"/>
                  <a:pt x="465" y="32"/>
                </a:cubicBezTo>
                <a:close/>
                <a:moveTo>
                  <a:pt x="462" y="39"/>
                </a:moveTo>
                <a:cubicBezTo>
                  <a:pt x="460" y="38"/>
                  <a:pt x="459" y="38"/>
                  <a:pt x="457" y="37"/>
                </a:cubicBezTo>
                <a:cubicBezTo>
                  <a:pt x="457" y="37"/>
                  <a:pt x="457" y="37"/>
                  <a:pt x="457" y="37"/>
                </a:cubicBezTo>
                <a:cubicBezTo>
                  <a:pt x="456" y="39"/>
                  <a:pt x="454" y="41"/>
                  <a:pt x="453" y="42"/>
                </a:cubicBezTo>
                <a:cubicBezTo>
                  <a:pt x="453" y="42"/>
                  <a:pt x="453" y="42"/>
                  <a:pt x="453" y="42"/>
                </a:cubicBezTo>
                <a:cubicBezTo>
                  <a:pt x="455" y="42"/>
                  <a:pt x="457" y="43"/>
                  <a:pt x="459" y="43"/>
                </a:cubicBezTo>
                <a:cubicBezTo>
                  <a:pt x="459" y="43"/>
                  <a:pt x="459" y="43"/>
                  <a:pt x="459" y="43"/>
                </a:cubicBezTo>
                <a:cubicBezTo>
                  <a:pt x="460" y="42"/>
                  <a:pt x="461" y="40"/>
                  <a:pt x="462" y="39"/>
                </a:cubicBezTo>
                <a:close/>
                <a:moveTo>
                  <a:pt x="457" y="31"/>
                </a:moveTo>
                <a:cubicBezTo>
                  <a:pt x="446" y="29"/>
                  <a:pt x="435" y="28"/>
                  <a:pt x="423" y="27"/>
                </a:cubicBezTo>
                <a:cubicBezTo>
                  <a:pt x="423" y="27"/>
                  <a:pt x="423" y="27"/>
                  <a:pt x="423" y="27"/>
                </a:cubicBezTo>
                <a:cubicBezTo>
                  <a:pt x="425" y="27"/>
                  <a:pt x="426" y="27"/>
                  <a:pt x="428" y="27"/>
                </a:cubicBezTo>
                <a:cubicBezTo>
                  <a:pt x="428" y="27"/>
                  <a:pt x="428" y="27"/>
                  <a:pt x="428" y="27"/>
                </a:cubicBezTo>
                <a:cubicBezTo>
                  <a:pt x="437" y="29"/>
                  <a:pt x="447" y="30"/>
                  <a:pt x="456" y="32"/>
                </a:cubicBezTo>
                <a:cubicBezTo>
                  <a:pt x="456" y="32"/>
                  <a:pt x="456" y="32"/>
                  <a:pt x="456" y="32"/>
                </a:cubicBezTo>
                <a:cubicBezTo>
                  <a:pt x="457" y="32"/>
                  <a:pt x="457" y="31"/>
                  <a:pt x="457" y="31"/>
                </a:cubicBezTo>
                <a:close/>
                <a:moveTo>
                  <a:pt x="451" y="37"/>
                </a:moveTo>
                <a:cubicBezTo>
                  <a:pt x="360" y="36"/>
                  <a:pt x="268" y="36"/>
                  <a:pt x="180" y="52"/>
                </a:cubicBezTo>
                <a:cubicBezTo>
                  <a:pt x="180" y="52"/>
                  <a:pt x="180" y="52"/>
                  <a:pt x="180" y="52"/>
                </a:cubicBezTo>
                <a:cubicBezTo>
                  <a:pt x="136" y="64"/>
                  <a:pt x="96" y="79"/>
                  <a:pt x="66" y="95"/>
                </a:cubicBezTo>
                <a:cubicBezTo>
                  <a:pt x="66" y="95"/>
                  <a:pt x="66" y="95"/>
                  <a:pt x="66" y="95"/>
                </a:cubicBezTo>
                <a:cubicBezTo>
                  <a:pt x="180" y="68"/>
                  <a:pt x="281" y="35"/>
                  <a:pt x="391" y="37"/>
                </a:cubicBezTo>
                <a:cubicBezTo>
                  <a:pt x="391" y="37"/>
                  <a:pt x="391" y="37"/>
                  <a:pt x="391" y="37"/>
                </a:cubicBezTo>
                <a:cubicBezTo>
                  <a:pt x="409" y="38"/>
                  <a:pt x="427" y="39"/>
                  <a:pt x="445" y="41"/>
                </a:cubicBezTo>
                <a:cubicBezTo>
                  <a:pt x="445" y="41"/>
                  <a:pt x="445" y="41"/>
                  <a:pt x="445" y="41"/>
                </a:cubicBezTo>
                <a:cubicBezTo>
                  <a:pt x="447" y="40"/>
                  <a:pt x="449" y="38"/>
                  <a:pt x="451" y="37"/>
                </a:cubicBezTo>
                <a:close/>
                <a:moveTo>
                  <a:pt x="434" y="33"/>
                </a:moveTo>
                <a:cubicBezTo>
                  <a:pt x="432" y="32"/>
                  <a:pt x="429" y="32"/>
                  <a:pt x="427" y="31"/>
                </a:cubicBezTo>
                <a:cubicBezTo>
                  <a:pt x="427" y="31"/>
                  <a:pt x="427" y="31"/>
                  <a:pt x="427" y="31"/>
                </a:cubicBezTo>
                <a:cubicBezTo>
                  <a:pt x="406" y="29"/>
                  <a:pt x="383" y="27"/>
                  <a:pt x="360" y="27"/>
                </a:cubicBezTo>
                <a:cubicBezTo>
                  <a:pt x="360" y="27"/>
                  <a:pt x="360" y="27"/>
                  <a:pt x="360" y="27"/>
                </a:cubicBezTo>
                <a:cubicBezTo>
                  <a:pt x="350" y="26"/>
                  <a:pt x="340" y="27"/>
                  <a:pt x="330" y="27"/>
                </a:cubicBezTo>
                <a:cubicBezTo>
                  <a:pt x="330" y="27"/>
                  <a:pt x="330" y="27"/>
                  <a:pt x="330" y="27"/>
                </a:cubicBezTo>
                <a:cubicBezTo>
                  <a:pt x="297" y="29"/>
                  <a:pt x="264" y="34"/>
                  <a:pt x="232" y="40"/>
                </a:cubicBezTo>
                <a:cubicBezTo>
                  <a:pt x="232" y="40"/>
                  <a:pt x="232" y="40"/>
                  <a:pt x="232" y="40"/>
                </a:cubicBezTo>
                <a:cubicBezTo>
                  <a:pt x="298" y="32"/>
                  <a:pt x="366" y="32"/>
                  <a:pt x="434" y="33"/>
                </a:cubicBezTo>
                <a:close/>
                <a:moveTo>
                  <a:pt x="241" y="34"/>
                </a:moveTo>
                <a:cubicBezTo>
                  <a:pt x="196" y="41"/>
                  <a:pt x="153" y="51"/>
                  <a:pt x="115" y="63"/>
                </a:cubicBezTo>
                <a:cubicBezTo>
                  <a:pt x="115" y="63"/>
                  <a:pt x="115" y="63"/>
                  <a:pt x="115" y="63"/>
                </a:cubicBezTo>
                <a:cubicBezTo>
                  <a:pt x="136" y="57"/>
                  <a:pt x="157" y="52"/>
                  <a:pt x="179" y="48"/>
                </a:cubicBezTo>
                <a:cubicBezTo>
                  <a:pt x="179" y="48"/>
                  <a:pt x="179" y="48"/>
                  <a:pt x="179" y="48"/>
                </a:cubicBezTo>
                <a:cubicBezTo>
                  <a:pt x="199" y="43"/>
                  <a:pt x="220" y="38"/>
                  <a:pt x="241" y="34"/>
                </a:cubicBezTo>
                <a:close/>
              </a:path>
            </a:pathLst>
          </a:custGeom>
          <a:solidFill>
            <a:schemeClr val="bg1"/>
          </a:solidFill>
          <a:ln w="4667" cap="flat" cmpd="sng" algn="ctr">
            <a:noFill/>
            <a:prstDash val="solid"/>
            <a:round/>
            <a:headEnd type="none" w="med" len="med"/>
            <a:tailEnd type="none" w="med" len="med"/>
          </a:ln>
        </p:spPr>
        <p:txBody>
          <a:bodyPr vert="horz" wrap="square" lIns="35510" tIns="17757" rIns="35510" bIns="17757" numCol="1" anchor="t" anchorCtr="0" compatLnSpc="1">
            <a:prstTxWarp prst="textNoShape">
              <a:avLst/>
            </a:prstTxWarp>
          </a:bodyPr>
          <a:lstStyle/>
          <a:p>
            <a:endParaRPr lang="en-US">
              <a:solidFill>
                <a:srgbClr val="575757"/>
              </a:solidFill>
              <a:latin typeface="+mn-lt"/>
            </a:endParaRPr>
          </a:p>
        </p:txBody>
      </p:sp>
      <p:sp>
        <p:nvSpPr>
          <p:cNvPr id="38" name="Freeform 58">
            <a:extLst>
              <a:ext uri="{FF2B5EF4-FFF2-40B4-BE49-F238E27FC236}">
                <a16:creationId xmlns:a16="http://schemas.microsoft.com/office/drawing/2014/main" id="{E0FF1BC0-9FA0-4AB1-A981-A617BDB235BD}"/>
              </a:ext>
            </a:extLst>
          </p:cNvPr>
          <p:cNvSpPr>
            <a:spLocks noEditPoints="1"/>
          </p:cNvSpPr>
          <p:nvPr/>
        </p:nvSpPr>
        <p:spPr bwMode="gray">
          <a:xfrm rot="6552764" flipV="1">
            <a:off x="6549836" y="3532650"/>
            <a:ext cx="1531053" cy="467433"/>
          </a:xfrm>
          <a:custGeom>
            <a:avLst/>
            <a:gdLst>
              <a:gd name="T0" fmla="*/ 404 w 553"/>
              <a:gd name="T1" fmla="*/ 86 h 111"/>
              <a:gd name="T2" fmla="*/ 514 w 553"/>
              <a:gd name="T3" fmla="*/ 59 h 111"/>
              <a:gd name="T4" fmla="*/ 453 w 553"/>
              <a:gd name="T5" fmla="*/ 60 h 111"/>
              <a:gd name="T6" fmla="*/ 449 w 553"/>
              <a:gd name="T7" fmla="*/ 46 h 111"/>
              <a:gd name="T8" fmla="*/ 410 w 553"/>
              <a:gd name="T9" fmla="*/ 70 h 111"/>
              <a:gd name="T10" fmla="*/ 391 w 553"/>
              <a:gd name="T11" fmla="*/ 41 h 111"/>
              <a:gd name="T12" fmla="*/ 127 w 553"/>
              <a:gd name="T13" fmla="*/ 64 h 111"/>
              <a:gd name="T14" fmla="*/ 43 w 553"/>
              <a:gd name="T15" fmla="*/ 90 h 111"/>
              <a:gd name="T16" fmla="*/ 2 w 553"/>
              <a:gd name="T17" fmla="*/ 111 h 111"/>
              <a:gd name="T18" fmla="*/ 348 w 553"/>
              <a:gd name="T19" fmla="*/ 21 h 111"/>
              <a:gd name="T20" fmla="*/ 389 w 553"/>
              <a:gd name="T21" fmla="*/ 21 h 111"/>
              <a:gd name="T22" fmla="*/ 477 w 553"/>
              <a:gd name="T23" fmla="*/ 3 h 111"/>
              <a:gd name="T24" fmla="*/ 543 w 553"/>
              <a:gd name="T25" fmla="*/ 58 h 111"/>
              <a:gd name="T26" fmla="*/ 550 w 553"/>
              <a:gd name="T27" fmla="*/ 66 h 111"/>
              <a:gd name="T28" fmla="*/ 544 w 553"/>
              <a:gd name="T29" fmla="*/ 65 h 111"/>
              <a:gd name="T30" fmla="*/ 530 w 553"/>
              <a:gd name="T31" fmla="*/ 62 h 111"/>
              <a:gd name="T32" fmla="*/ 525 w 553"/>
              <a:gd name="T33" fmla="*/ 62 h 111"/>
              <a:gd name="T34" fmla="*/ 534 w 553"/>
              <a:gd name="T35" fmla="*/ 57 h 111"/>
              <a:gd name="T36" fmla="*/ 500 w 553"/>
              <a:gd name="T37" fmla="*/ 43 h 111"/>
              <a:gd name="T38" fmla="*/ 516 w 553"/>
              <a:gd name="T39" fmla="*/ 49 h 111"/>
              <a:gd name="T40" fmla="*/ 516 w 553"/>
              <a:gd name="T41" fmla="*/ 52 h 111"/>
              <a:gd name="T42" fmla="*/ 529 w 553"/>
              <a:gd name="T43" fmla="*/ 50 h 111"/>
              <a:gd name="T44" fmla="*/ 469 w 553"/>
              <a:gd name="T45" fmla="*/ 22 h 111"/>
              <a:gd name="T46" fmla="*/ 471 w 553"/>
              <a:gd name="T47" fmla="*/ 30 h 111"/>
              <a:gd name="T48" fmla="*/ 492 w 553"/>
              <a:gd name="T49" fmla="*/ 34 h 111"/>
              <a:gd name="T50" fmla="*/ 497 w 553"/>
              <a:gd name="T51" fmla="*/ 36 h 111"/>
              <a:gd name="T52" fmla="*/ 501 w 553"/>
              <a:gd name="T53" fmla="*/ 36 h 111"/>
              <a:gd name="T54" fmla="*/ 502 w 553"/>
              <a:gd name="T55" fmla="*/ 38 h 111"/>
              <a:gd name="T56" fmla="*/ 495 w 553"/>
              <a:gd name="T57" fmla="*/ 42 h 111"/>
              <a:gd name="T58" fmla="*/ 494 w 553"/>
              <a:gd name="T59" fmla="*/ 49 h 111"/>
              <a:gd name="T60" fmla="*/ 494 w 553"/>
              <a:gd name="T61" fmla="*/ 49 h 111"/>
              <a:gd name="T62" fmla="*/ 492 w 553"/>
              <a:gd name="T63" fmla="*/ 47 h 111"/>
              <a:gd name="T64" fmla="*/ 483 w 553"/>
              <a:gd name="T65" fmla="*/ 47 h 111"/>
              <a:gd name="T66" fmla="*/ 492 w 553"/>
              <a:gd name="T67" fmla="*/ 39 h 111"/>
              <a:gd name="T68" fmla="*/ 480 w 553"/>
              <a:gd name="T69" fmla="*/ 37 h 111"/>
              <a:gd name="T70" fmla="*/ 481 w 553"/>
              <a:gd name="T71" fmla="*/ 44 h 111"/>
              <a:gd name="T72" fmla="*/ 463 w 553"/>
              <a:gd name="T73" fmla="*/ 44 h 111"/>
              <a:gd name="T74" fmla="*/ 468 w 553"/>
              <a:gd name="T75" fmla="*/ 49 h 111"/>
              <a:gd name="T76" fmla="*/ 458 w 553"/>
              <a:gd name="T77" fmla="*/ 53 h 111"/>
              <a:gd name="T78" fmla="*/ 463 w 553"/>
              <a:gd name="T79" fmla="*/ 32 h 111"/>
              <a:gd name="T80" fmla="*/ 465 w 553"/>
              <a:gd name="T81" fmla="*/ 33 h 111"/>
              <a:gd name="T82" fmla="*/ 457 w 553"/>
              <a:gd name="T83" fmla="*/ 37 h 111"/>
              <a:gd name="T84" fmla="*/ 459 w 553"/>
              <a:gd name="T85" fmla="*/ 43 h 111"/>
              <a:gd name="T86" fmla="*/ 423 w 553"/>
              <a:gd name="T87" fmla="*/ 27 h 111"/>
              <a:gd name="T88" fmla="*/ 456 w 553"/>
              <a:gd name="T89" fmla="*/ 32 h 111"/>
              <a:gd name="T90" fmla="*/ 180 w 553"/>
              <a:gd name="T91" fmla="*/ 52 h 111"/>
              <a:gd name="T92" fmla="*/ 391 w 553"/>
              <a:gd name="T93" fmla="*/ 37 h 111"/>
              <a:gd name="T94" fmla="*/ 434 w 553"/>
              <a:gd name="T95" fmla="*/ 33 h 111"/>
              <a:gd name="T96" fmla="*/ 360 w 553"/>
              <a:gd name="T97" fmla="*/ 27 h 111"/>
              <a:gd name="T98" fmla="*/ 232 w 553"/>
              <a:gd name="T99" fmla="*/ 40 h 111"/>
              <a:gd name="T100" fmla="*/ 115 w 553"/>
              <a:gd name="T101" fmla="*/ 6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3" h="111">
                <a:moveTo>
                  <a:pt x="548" y="70"/>
                </a:moveTo>
                <a:cubicBezTo>
                  <a:pt x="545" y="69"/>
                  <a:pt x="542" y="69"/>
                  <a:pt x="539" y="69"/>
                </a:cubicBezTo>
                <a:cubicBezTo>
                  <a:pt x="539" y="69"/>
                  <a:pt x="539" y="69"/>
                  <a:pt x="539" y="69"/>
                </a:cubicBezTo>
                <a:cubicBezTo>
                  <a:pt x="494" y="69"/>
                  <a:pt x="449" y="78"/>
                  <a:pt x="404" y="86"/>
                </a:cubicBezTo>
                <a:cubicBezTo>
                  <a:pt x="404" y="86"/>
                  <a:pt x="404" y="86"/>
                  <a:pt x="404" y="86"/>
                </a:cubicBezTo>
                <a:cubicBezTo>
                  <a:pt x="404" y="82"/>
                  <a:pt x="404" y="82"/>
                  <a:pt x="404" y="82"/>
                </a:cubicBezTo>
                <a:cubicBezTo>
                  <a:pt x="439" y="72"/>
                  <a:pt x="476" y="62"/>
                  <a:pt x="514" y="59"/>
                </a:cubicBezTo>
                <a:cubicBezTo>
                  <a:pt x="514" y="59"/>
                  <a:pt x="514" y="59"/>
                  <a:pt x="514" y="59"/>
                </a:cubicBezTo>
                <a:cubicBezTo>
                  <a:pt x="501" y="55"/>
                  <a:pt x="488" y="52"/>
                  <a:pt x="476" y="50"/>
                </a:cubicBezTo>
                <a:cubicBezTo>
                  <a:pt x="476" y="50"/>
                  <a:pt x="476" y="50"/>
                  <a:pt x="476" y="50"/>
                </a:cubicBezTo>
                <a:cubicBezTo>
                  <a:pt x="467" y="54"/>
                  <a:pt x="458" y="57"/>
                  <a:pt x="453" y="60"/>
                </a:cubicBezTo>
                <a:cubicBezTo>
                  <a:pt x="453" y="60"/>
                  <a:pt x="453" y="60"/>
                  <a:pt x="453" y="60"/>
                </a:cubicBezTo>
                <a:cubicBezTo>
                  <a:pt x="450" y="57"/>
                  <a:pt x="450" y="57"/>
                  <a:pt x="450" y="57"/>
                </a:cubicBezTo>
                <a:cubicBezTo>
                  <a:pt x="452" y="54"/>
                  <a:pt x="455" y="50"/>
                  <a:pt x="457" y="47"/>
                </a:cubicBezTo>
                <a:cubicBezTo>
                  <a:pt x="457" y="47"/>
                  <a:pt x="457" y="47"/>
                  <a:pt x="457" y="47"/>
                </a:cubicBezTo>
                <a:cubicBezTo>
                  <a:pt x="454" y="46"/>
                  <a:pt x="452" y="46"/>
                  <a:pt x="449" y="46"/>
                </a:cubicBezTo>
                <a:cubicBezTo>
                  <a:pt x="449" y="46"/>
                  <a:pt x="449" y="46"/>
                  <a:pt x="449" y="46"/>
                </a:cubicBezTo>
                <a:cubicBezTo>
                  <a:pt x="438" y="57"/>
                  <a:pt x="425" y="66"/>
                  <a:pt x="412" y="73"/>
                </a:cubicBezTo>
                <a:cubicBezTo>
                  <a:pt x="412" y="73"/>
                  <a:pt x="412" y="73"/>
                  <a:pt x="412" y="73"/>
                </a:cubicBezTo>
                <a:cubicBezTo>
                  <a:pt x="410" y="70"/>
                  <a:pt x="410" y="70"/>
                  <a:pt x="410" y="70"/>
                </a:cubicBezTo>
                <a:cubicBezTo>
                  <a:pt x="420" y="62"/>
                  <a:pt x="430" y="53"/>
                  <a:pt x="441" y="45"/>
                </a:cubicBezTo>
                <a:cubicBezTo>
                  <a:pt x="441" y="45"/>
                  <a:pt x="441" y="45"/>
                  <a:pt x="441" y="45"/>
                </a:cubicBezTo>
                <a:cubicBezTo>
                  <a:pt x="424" y="43"/>
                  <a:pt x="407" y="42"/>
                  <a:pt x="391" y="41"/>
                </a:cubicBezTo>
                <a:cubicBezTo>
                  <a:pt x="391" y="41"/>
                  <a:pt x="391" y="41"/>
                  <a:pt x="391" y="41"/>
                </a:cubicBezTo>
                <a:cubicBezTo>
                  <a:pt x="277" y="39"/>
                  <a:pt x="174" y="74"/>
                  <a:pt x="54" y="102"/>
                </a:cubicBezTo>
                <a:cubicBezTo>
                  <a:pt x="54" y="102"/>
                  <a:pt x="54" y="102"/>
                  <a:pt x="54" y="102"/>
                </a:cubicBezTo>
                <a:cubicBezTo>
                  <a:pt x="52" y="99"/>
                  <a:pt x="52" y="99"/>
                  <a:pt x="52" y="99"/>
                </a:cubicBezTo>
                <a:cubicBezTo>
                  <a:pt x="72" y="86"/>
                  <a:pt x="97" y="75"/>
                  <a:pt x="127" y="64"/>
                </a:cubicBezTo>
                <a:cubicBezTo>
                  <a:pt x="127" y="64"/>
                  <a:pt x="127" y="64"/>
                  <a:pt x="127" y="64"/>
                </a:cubicBezTo>
                <a:cubicBezTo>
                  <a:pt x="99" y="72"/>
                  <a:pt x="71" y="82"/>
                  <a:pt x="44" y="94"/>
                </a:cubicBezTo>
                <a:cubicBezTo>
                  <a:pt x="44" y="94"/>
                  <a:pt x="44" y="94"/>
                  <a:pt x="44" y="94"/>
                </a:cubicBezTo>
                <a:cubicBezTo>
                  <a:pt x="43" y="90"/>
                  <a:pt x="43" y="90"/>
                  <a:pt x="43" y="90"/>
                </a:cubicBezTo>
                <a:cubicBezTo>
                  <a:pt x="52" y="85"/>
                  <a:pt x="62" y="80"/>
                  <a:pt x="73" y="75"/>
                </a:cubicBezTo>
                <a:cubicBezTo>
                  <a:pt x="73" y="75"/>
                  <a:pt x="73" y="75"/>
                  <a:pt x="73" y="75"/>
                </a:cubicBezTo>
                <a:cubicBezTo>
                  <a:pt x="47" y="86"/>
                  <a:pt x="23" y="98"/>
                  <a:pt x="2" y="111"/>
                </a:cubicBezTo>
                <a:cubicBezTo>
                  <a:pt x="2" y="111"/>
                  <a:pt x="2" y="111"/>
                  <a:pt x="2" y="111"/>
                </a:cubicBezTo>
                <a:cubicBezTo>
                  <a:pt x="2" y="111"/>
                  <a:pt x="2" y="111"/>
                  <a:pt x="2" y="111"/>
                </a:cubicBezTo>
                <a:cubicBezTo>
                  <a:pt x="0" y="107"/>
                  <a:pt x="0" y="107"/>
                  <a:pt x="0" y="107"/>
                </a:cubicBezTo>
                <a:cubicBezTo>
                  <a:pt x="87" y="53"/>
                  <a:pt x="223" y="18"/>
                  <a:pt x="348" y="21"/>
                </a:cubicBezTo>
                <a:cubicBezTo>
                  <a:pt x="348" y="21"/>
                  <a:pt x="348" y="21"/>
                  <a:pt x="348" y="21"/>
                </a:cubicBezTo>
                <a:cubicBezTo>
                  <a:pt x="353" y="21"/>
                  <a:pt x="359" y="21"/>
                  <a:pt x="365" y="21"/>
                </a:cubicBezTo>
                <a:cubicBezTo>
                  <a:pt x="365" y="21"/>
                  <a:pt x="365" y="21"/>
                  <a:pt x="365" y="21"/>
                </a:cubicBezTo>
                <a:cubicBezTo>
                  <a:pt x="373" y="21"/>
                  <a:pt x="381" y="21"/>
                  <a:pt x="389" y="21"/>
                </a:cubicBezTo>
                <a:cubicBezTo>
                  <a:pt x="389" y="21"/>
                  <a:pt x="389" y="21"/>
                  <a:pt x="389" y="21"/>
                </a:cubicBezTo>
                <a:cubicBezTo>
                  <a:pt x="414" y="21"/>
                  <a:pt x="438" y="23"/>
                  <a:pt x="460" y="27"/>
                </a:cubicBezTo>
                <a:cubicBezTo>
                  <a:pt x="460" y="27"/>
                  <a:pt x="460" y="27"/>
                  <a:pt x="460" y="27"/>
                </a:cubicBezTo>
                <a:cubicBezTo>
                  <a:pt x="466" y="20"/>
                  <a:pt x="472" y="11"/>
                  <a:pt x="477" y="3"/>
                </a:cubicBezTo>
                <a:cubicBezTo>
                  <a:pt x="477" y="3"/>
                  <a:pt x="477" y="3"/>
                  <a:pt x="477" y="3"/>
                </a:cubicBezTo>
                <a:cubicBezTo>
                  <a:pt x="478" y="0"/>
                  <a:pt x="478" y="0"/>
                  <a:pt x="478" y="0"/>
                </a:cubicBezTo>
                <a:cubicBezTo>
                  <a:pt x="480" y="2"/>
                  <a:pt x="480" y="2"/>
                  <a:pt x="480" y="2"/>
                </a:cubicBezTo>
                <a:cubicBezTo>
                  <a:pt x="501" y="18"/>
                  <a:pt x="524" y="38"/>
                  <a:pt x="543" y="58"/>
                </a:cubicBezTo>
                <a:cubicBezTo>
                  <a:pt x="543" y="58"/>
                  <a:pt x="543" y="58"/>
                  <a:pt x="543" y="58"/>
                </a:cubicBezTo>
                <a:cubicBezTo>
                  <a:pt x="547" y="61"/>
                  <a:pt x="547" y="61"/>
                  <a:pt x="547" y="61"/>
                </a:cubicBezTo>
                <a:cubicBezTo>
                  <a:pt x="545" y="61"/>
                  <a:pt x="545" y="61"/>
                  <a:pt x="545" y="61"/>
                </a:cubicBezTo>
                <a:cubicBezTo>
                  <a:pt x="547" y="63"/>
                  <a:pt x="548" y="64"/>
                  <a:pt x="550" y="66"/>
                </a:cubicBezTo>
                <a:cubicBezTo>
                  <a:pt x="550" y="66"/>
                  <a:pt x="550" y="66"/>
                  <a:pt x="550" y="66"/>
                </a:cubicBezTo>
                <a:cubicBezTo>
                  <a:pt x="553" y="70"/>
                  <a:pt x="553" y="70"/>
                  <a:pt x="553" y="70"/>
                </a:cubicBezTo>
                <a:cubicBezTo>
                  <a:pt x="548" y="70"/>
                  <a:pt x="548" y="70"/>
                  <a:pt x="548" y="70"/>
                </a:cubicBezTo>
                <a:close/>
                <a:moveTo>
                  <a:pt x="540" y="65"/>
                </a:moveTo>
                <a:cubicBezTo>
                  <a:pt x="541" y="65"/>
                  <a:pt x="542" y="65"/>
                  <a:pt x="544" y="65"/>
                </a:cubicBezTo>
                <a:cubicBezTo>
                  <a:pt x="544" y="65"/>
                  <a:pt x="544" y="65"/>
                  <a:pt x="544" y="65"/>
                </a:cubicBezTo>
                <a:cubicBezTo>
                  <a:pt x="542" y="64"/>
                  <a:pt x="541" y="63"/>
                  <a:pt x="540" y="61"/>
                </a:cubicBezTo>
                <a:cubicBezTo>
                  <a:pt x="540" y="61"/>
                  <a:pt x="540" y="61"/>
                  <a:pt x="540" y="61"/>
                </a:cubicBezTo>
                <a:cubicBezTo>
                  <a:pt x="537" y="61"/>
                  <a:pt x="533" y="61"/>
                  <a:pt x="530" y="62"/>
                </a:cubicBezTo>
                <a:cubicBezTo>
                  <a:pt x="530" y="62"/>
                  <a:pt x="530" y="62"/>
                  <a:pt x="530" y="62"/>
                </a:cubicBezTo>
                <a:cubicBezTo>
                  <a:pt x="529" y="63"/>
                  <a:pt x="529" y="63"/>
                  <a:pt x="529" y="63"/>
                </a:cubicBezTo>
                <a:cubicBezTo>
                  <a:pt x="528" y="63"/>
                  <a:pt x="526" y="62"/>
                  <a:pt x="525" y="62"/>
                </a:cubicBezTo>
                <a:cubicBezTo>
                  <a:pt x="525" y="62"/>
                  <a:pt x="525" y="62"/>
                  <a:pt x="525" y="62"/>
                </a:cubicBezTo>
                <a:cubicBezTo>
                  <a:pt x="500" y="63"/>
                  <a:pt x="476" y="68"/>
                  <a:pt x="452" y="73"/>
                </a:cubicBezTo>
                <a:cubicBezTo>
                  <a:pt x="452" y="73"/>
                  <a:pt x="452" y="73"/>
                  <a:pt x="452" y="73"/>
                </a:cubicBezTo>
                <a:cubicBezTo>
                  <a:pt x="481" y="69"/>
                  <a:pt x="510" y="65"/>
                  <a:pt x="540" y="65"/>
                </a:cubicBezTo>
                <a:close/>
                <a:moveTo>
                  <a:pt x="534" y="57"/>
                </a:moveTo>
                <a:cubicBezTo>
                  <a:pt x="524" y="51"/>
                  <a:pt x="513" y="46"/>
                  <a:pt x="500" y="42"/>
                </a:cubicBezTo>
                <a:cubicBezTo>
                  <a:pt x="500" y="42"/>
                  <a:pt x="500" y="42"/>
                  <a:pt x="500" y="42"/>
                </a:cubicBezTo>
                <a:cubicBezTo>
                  <a:pt x="500" y="42"/>
                  <a:pt x="500" y="43"/>
                  <a:pt x="500" y="43"/>
                </a:cubicBezTo>
                <a:cubicBezTo>
                  <a:pt x="500" y="43"/>
                  <a:pt x="500" y="43"/>
                  <a:pt x="500" y="43"/>
                </a:cubicBezTo>
                <a:cubicBezTo>
                  <a:pt x="505" y="45"/>
                  <a:pt x="510" y="47"/>
                  <a:pt x="515" y="49"/>
                </a:cubicBezTo>
                <a:cubicBezTo>
                  <a:pt x="515" y="49"/>
                  <a:pt x="515" y="49"/>
                  <a:pt x="515" y="49"/>
                </a:cubicBezTo>
                <a:cubicBezTo>
                  <a:pt x="515" y="49"/>
                  <a:pt x="515" y="49"/>
                  <a:pt x="515" y="49"/>
                </a:cubicBezTo>
                <a:cubicBezTo>
                  <a:pt x="516" y="49"/>
                  <a:pt x="516" y="49"/>
                  <a:pt x="516" y="49"/>
                </a:cubicBezTo>
                <a:cubicBezTo>
                  <a:pt x="516" y="49"/>
                  <a:pt x="516" y="50"/>
                  <a:pt x="516" y="51"/>
                </a:cubicBezTo>
                <a:cubicBezTo>
                  <a:pt x="516" y="51"/>
                  <a:pt x="516" y="51"/>
                  <a:pt x="516" y="51"/>
                </a:cubicBezTo>
                <a:cubicBezTo>
                  <a:pt x="516" y="52"/>
                  <a:pt x="516" y="52"/>
                  <a:pt x="516" y="52"/>
                </a:cubicBezTo>
                <a:cubicBezTo>
                  <a:pt x="516" y="52"/>
                  <a:pt x="516" y="52"/>
                  <a:pt x="516" y="52"/>
                </a:cubicBezTo>
                <a:cubicBezTo>
                  <a:pt x="520" y="54"/>
                  <a:pt x="524" y="56"/>
                  <a:pt x="527" y="58"/>
                </a:cubicBezTo>
                <a:cubicBezTo>
                  <a:pt x="527" y="58"/>
                  <a:pt x="527" y="58"/>
                  <a:pt x="527" y="58"/>
                </a:cubicBezTo>
                <a:cubicBezTo>
                  <a:pt x="529" y="57"/>
                  <a:pt x="532" y="57"/>
                  <a:pt x="534" y="57"/>
                </a:cubicBezTo>
                <a:close/>
                <a:moveTo>
                  <a:pt x="529" y="50"/>
                </a:moveTo>
                <a:cubicBezTo>
                  <a:pt x="514" y="34"/>
                  <a:pt x="496" y="19"/>
                  <a:pt x="479" y="7"/>
                </a:cubicBezTo>
                <a:cubicBezTo>
                  <a:pt x="479" y="7"/>
                  <a:pt x="479" y="7"/>
                  <a:pt x="479" y="7"/>
                </a:cubicBezTo>
                <a:cubicBezTo>
                  <a:pt x="476" y="12"/>
                  <a:pt x="473" y="17"/>
                  <a:pt x="469" y="22"/>
                </a:cubicBezTo>
                <a:cubicBezTo>
                  <a:pt x="469" y="22"/>
                  <a:pt x="469" y="22"/>
                  <a:pt x="469" y="22"/>
                </a:cubicBezTo>
                <a:cubicBezTo>
                  <a:pt x="471" y="21"/>
                  <a:pt x="472" y="19"/>
                  <a:pt x="474" y="18"/>
                </a:cubicBezTo>
                <a:cubicBezTo>
                  <a:pt x="474" y="18"/>
                  <a:pt x="474" y="18"/>
                  <a:pt x="474" y="18"/>
                </a:cubicBezTo>
                <a:cubicBezTo>
                  <a:pt x="477" y="21"/>
                  <a:pt x="477" y="21"/>
                  <a:pt x="477" y="21"/>
                </a:cubicBezTo>
                <a:cubicBezTo>
                  <a:pt x="475" y="23"/>
                  <a:pt x="473" y="26"/>
                  <a:pt x="471" y="30"/>
                </a:cubicBezTo>
                <a:cubicBezTo>
                  <a:pt x="471" y="30"/>
                  <a:pt x="471" y="30"/>
                  <a:pt x="471" y="30"/>
                </a:cubicBezTo>
                <a:cubicBezTo>
                  <a:pt x="477" y="31"/>
                  <a:pt x="482" y="32"/>
                  <a:pt x="487" y="33"/>
                </a:cubicBezTo>
                <a:cubicBezTo>
                  <a:pt x="487" y="33"/>
                  <a:pt x="487" y="33"/>
                  <a:pt x="487" y="33"/>
                </a:cubicBezTo>
                <a:cubicBezTo>
                  <a:pt x="489" y="33"/>
                  <a:pt x="491" y="34"/>
                  <a:pt x="492" y="34"/>
                </a:cubicBezTo>
                <a:cubicBezTo>
                  <a:pt x="492" y="34"/>
                  <a:pt x="492" y="34"/>
                  <a:pt x="492" y="34"/>
                </a:cubicBezTo>
                <a:cubicBezTo>
                  <a:pt x="492" y="35"/>
                  <a:pt x="492" y="35"/>
                  <a:pt x="492" y="35"/>
                </a:cubicBezTo>
                <a:cubicBezTo>
                  <a:pt x="494" y="35"/>
                  <a:pt x="495" y="36"/>
                  <a:pt x="497" y="36"/>
                </a:cubicBezTo>
                <a:cubicBezTo>
                  <a:pt x="497" y="36"/>
                  <a:pt x="497" y="36"/>
                  <a:pt x="497" y="36"/>
                </a:cubicBezTo>
                <a:cubicBezTo>
                  <a:pt x="497" y="36"/>
                  <a:pt x="498" y="36"/>
                  <a:pt x="498" y="35"/>
                </a:cubicBezTo>
                <a:cubicBezTo>
                  <a:pt x="498" y="35"/>
                  <a:pt x="498" y="35"/>
                  <a:pt x="498" y="35"/>
                </a:cubicBezTo>
                <a:cubicBezTo>
                  <a:pt x="500" y="34"/>
                  <a:pt x="500" y="34"/>
                  <a:pt x="500" y="34"/>
                </a:cubicBezTo>
                <a:cubicBezTo>
                  <a:pt x="501" y="36"/>
                  <a:pt x="501" y="36"/>
                  <a:pt x="501" y="36"/>
                </a:cubicBezTo>
                <a:cubicBezTo>
                  <a:pt x="502" y="36"/>
                  <a:pt x="502" y="37"/>
                  <a:pt x="502" y="38"/>
                </a:cubicBezTo>
                <a:cubicBezTo>
                  <a:pt x="502" y="38"/>
                  <a:pt x="502" y="38"/>
                  <a:pt x="502" y="38"/>
                </a:cubicBezTo>
                <a:cubicBezTo>
                  <a:pt x="502" y="38"/>
                  <a:pt x="502" y="38"/>
                  <a:pt x="502" y="38"/>
                </a:cubicBezTo>
                <a:cubicBezTo>
                  <a:pt x="502" y="38"/>
                  <a:pt x="502" y="38"/>
                  <a:pt x="502" y="38"/>
                </a:cubicBezTo>
                <a:cubicBezTo>
                  <a:pt x="511" y="41"/>
                  <a:pt x="521" y="45"/>
                  <a:pt x="529" y="50"/>
                </a:cubicBezTo>
                <a:close/>
                <a:moveTo>
                  <a:pt x="496" y="41"/>
                </a:moveTo>
                <a:cubicBezTo>
                  <a:pt x="496" y="41"/>
                  <a:pt x="496" y="42"/>
                  <a:pt x="495" y="42"/>
                </a:cubicBezTo>
                <a:cubicBezTo>
                  <a:pt x="495" y="42"/>
                  <a:pt x="495" y="42"/>
                  <a:pt x="495" y="42"/>
                </a:cubicBezTo>
                <a:cubicBezTo>
                  <a:pt x="495" y="42"/>
                  <a:pt x="496" y="42"/>
                  <a:pt x="496" y="42"/>
                </a:cubicBezTo>
                <a:cubicBezTo>
                  <a:pt x="496" y="42"/>
                  <a:pt x="496" y="42"/>
                  <a:pt x="496" y="42"/>
                </a:cubicBezTo>
                <a:cubicBezTo>
                  <a:pt x="496" y="42"/>
                  <a:pt x="496" y="42"/>
                  <a:pt x="496" y="41"/>
                </a:cubicBezTo>
                <a:close/>
                <a:moveTo>
                  <a:pt x="494" y="49"/>
                </a:moveTo>
                <a:cubicBezTo>
                  <a:pt x="494" y="50"/>
                  <a:pt x="494" y="50"/>
                  <a:pt x="494" y="50"/>
                </a:cubicBezTo>
                <a:cubicBezTo>
                  <a:pt x="494" y="50"/>
                  <a:pt x="494" y="50"/>
                  <a:pt x="494" y="50"/>
                </a:cubicBezTo>
                <a:cubicBezTo>
                  <a:pt x="494" y="50"/>
                  <a:pt x="494" y="50"/>
                  <a:pt x="494" y="50"/>
                </a:cubicBezTo>
                <a:cubicBezTo>
                  <a:pt x="494" y="49"/>
                  <a:pt x="494" y="49"/>
                  <a:pt x="494" y="49"/>
                </a:cubicBezTo>
                <a:close/>
                <a:moveTo>
                  <a:pt x="493" y="48"/>
                </a:moveTo>
                <a:cubicBezTo>
                  <a:pt x="493" y="49"/>
                  <a:pt x="493" y="49"/>
                  <a:pt x="493" y="49"/>
                </a:cubicBezTo>
                <a:cubicBezTo>
                  <a:pt x="493" y="48"/>
                  <a:pt x="493" y="48"/>
                  <a:pt x="493" y="48"/>
                </a:cubicBezTo>
                <a:close/>
                <a:moveTo>
                  <a:pt x="492" y="47"/>
                </a:moveTo>
                <a:cubicBezTo>
                  <a:pt x="490" y="47"/>
                  <a:pt x="489" y="46"/>
                  <a:pt x="487" y="46"/>
                </a:cubicBezTo>
                <a:cubicBezTo>
                  <a:pt x="487" y="46"/>
                  <a:pt x="487" y="46"/>
                  <a:pt x="487" y="46"/>
                </a:cubicBezTo>
                <a:cubicBezTo>
                  <a:pt x="486" y="46"/>
                  <a:pt x="484" y="47"/>
                  <a:pt x="483" y="47"/>
                </a:cubicBezTo>
                <a:cubicBezTo>
                  <a:pt x="483" y="47"/>
                  <a:pt x="483" y="47"/>
                  <a:pt x="483" y="47"/>
                </a:cubicBezTo>
                <a:cubicBezTo>
                  <a:pt x="486" y="48"/>
                  <a:pt x="488" y="48"/>
                  <a:pt x="491" y="49"/>
                </a:cubicBezTo>
                <a:cubicBezTo>
                  <a:pt x="491" y="49"/>
                  <a:pt x="491" y="49"/>
                  <a:pt x="491" y="49"/>
                </a:cubicBezTo>
                <a:cubicBezTo>
                  <a:pt x="491" y="48"/>
                  <a:pt x="492" y="48"/>
                  <a:pt x="492" y="47"/>
                </a:cubicBezTo>
                <a:close/>
                <a:moveTo>
                  <a:pt x="492" y="39"/>
                </a:moveTo>
                <a:cubicBezTo>
                  <a:pt x="490" y="39"/>
                  <a:pt x="488" y="38"/>
                  <a:pt x="487" y="38"/>
                </a:cubicBezTo>
                <a:cubicBezTo>
                  <a:pt x="487" y="38"/>
                  <a:pt x="487" y="38"/>
                  <a:pt x="487" y="38"/>
                </a:cubicBezTo>
                <a:cubicBezTo>
                  <a:pt x="484" y="37"/>
                  <a:pt x="482" y="37"/>
                  <a:pt x="480" y="37"/>
                </a:cubicBezTo>
                <a:cubicBezTo>
                  <a:pt x="480" y="37"/>
                  <a:pt x="480" y="37"/>
                  <a:pt x="480" y="37"/>
                </a:cubicBezTo>
                <a:cubicBezTo>
                  <a:pt x="483" y="38"/>
                  <a:pt x="486" y="39"/>
                  <a:pt x="490" y="40"/>
                </a:cubicBezTo>
                <a:cubicBezTo>
                  <a:pt x="490" y="40"/>
                  <a:pt x="490" y="40"/>
                  <a:pt x="490" y="40"/>
                </a:cubicBezTo>
                <a:cubicBezTo>
                  <a:pt x="490" y="40"/>
                  <a:pt x="491" y="39"/>
                  <a:pt x="492" y="39"/>
                </a:cubicBezTo>
                <a:close/>
                <a:moveTo>
                  <a:pt x="481" y="44"/>
                </a:moveTo>
                <a:cubicBezTo>
                  <a:pt x="476" y="42"/>
                  <a:pt x="471" y="41"/>
                  <a:pt x="466" y="40"/>
                </a:cubicBezTo>
                <a:cubicBezTo>
                  <a:pt x="466" y="40"/>
                  <a:pt x="466" y="40"/>
                  <a:pt x="466" y="40"/>
                </a:cubicBezTo>
                <a:cubicBezTo>
                  <a:pt x="465" y="41"/>
                  <a:pt x="464" y="42"/>
                  <a:pt x="463" y="44"/>
                </a:cubicBezTo>
                <a:cubicBezTo>
                  <a:pt x="463" y="44"/>
                  <a:pt x="463" y="44"/>
                  <a:pt x="463" y="44"/>
                </a:cubicBezTo>
                <a:cubicBezTo>
                  <a:pt x="467" y="44"/>
                  <a:pt x="472" y="45"/>
                  <a:pt x="476" y="46"/>
                </a:cubicBezTo>
                <a:cubicBezTo>
                  <a:pt x="476" y="46"/>
                  <a:pt x="476" y="46"/>
                  <a:pt x="476" y="46"/>
                </a:cubicBezTo>
                <a:cubicBezTo>
                  <a:pt x="477" y="45"/>
                  <a:pt x="479" y="45"/>
                  <a:pt x="481" y="44"/>
                </a:cubicBezTo>
                <a:close/>
                <a:moveTo>
                  <a:pt x="468" y="49"/>
                </a:moveTo>
                <a:cubicBezTo>
                  <a:pt x="466" y="48"/>
                  <a:pt x="463" y="48"/>
                  <a:pt x="461" y="48"/>
                </a:cubicBezTo>
                <a:cubicBezTo>
                  <a:pt x="461" y="48"/>
                  <a:pt x="461" y="48"/>
                  <a:pt x="461" y="48"/>
                </a:cubicBezTo>
                <a:cubicBezTo>
                  <a:pt x="460" y="49"/>
                  <a:pt x="459" y="51"/>
                  <a:pt x="458" y="53"/>
                </a:cubicBezTo>
                <a:cubicBezTo>
                  <a:pt x="458" y="53"/>
                  <a:pt x="458" y="53"/>
                  <a:pt x="458" y="53"/>
                </a:cubicBezTo>
                <a:cubicBezTo>
                  <a:pt x="461" y="51"/>
                  <a:pt x="465" y="50"/>
                  <a:pt x="468" y="49"/>
                </a:cubicBezTo>
                <a:close/>
                <a:moveTo>
                  <a:pt x="465" y="32"/>
                </a:moveTo>
                <a:cubicBezTo>
                  <a:pt x="464" y="32"/>
                  <a:pt x="464" y="32"/>
                  <a:pt x="463" y="32"/>
                </a:cubicBezTo>
                <a:cubicBezTo>
                  <a:pt x="463" y="32"/>
                  <a:pt x="463" y="32"/>
                  <a:pt x="463" y="32"/>
                </a:cubicBezTo>
                <a:cubicBezTo>
                  <a:pt x="463" y="32"/>
                  <a:pt x="463" y="33"/>
                  <a:pt x="462" y="33"/>
                </a:cubicBezTo>
                <a:cubicBezTo>
                  <a:pt x="462" y="33"/>
                  <a:pt x="462" y="33"/>
                  <a:pt x="462" y="33"/>
                </a:cubicBezTo>
                <a:cubicBezTo>
                  <a:pt x="463" y="33"/>
                  <a:pt x="464" y="33"/>
                  <a:pt x="465" y="33"/>
                </a:cubicBezTo>
                <a:cubicBezTo>
                  <a:pt x="465" y="33"/>
                  <a:pt x="465" y="33"/>
                  <a:pt x="465" y="33"/>
                </a:cubicBezTo>
                <a:cubicBezTo>
                  <a:pt x="465" y="33"/>
                  <a:pt x="465" y="33"/>
                  <a:pt x="465" y="32"/>
                </a:cubicBezTo>
                <a:close/>
                <a:moveTo>
                  <a:pt x="462" y="39"/>
                </a:moveTo>
                <a:cubicBezTo>
                  <a:pt x="460" y="38"/>
                  <a:pt x="459" y="38"/>
                  <a:pt x="457" y="37"/>
                </a:cubicBezTo>
                <a:cubicBezTo>
                  <a:pt x="457" y="37"/>
                  <a:pt x="457" y="37"/>
                  <a:pt x="457" y="37"/>
                </a:cubicBezTo>
                <a:cubicBezTo>
                  <a:pt x="456" y="39"/>
                  <a:pt x="454" y="41"/>
                  <a:pt x="453" y="42"/>
                </a:cubicBezTo>
                <a:cubicBezTo>
                  <a:pt x="453" y="42"/>
                  <a:pt x="453" y="42"/>
                  <a:pt x="453" y="42"/>
                </a:cubicBezTo>
                <a:cubicBezTo>
                  <a:pt x="455" y="42"/>
                  <a:pt x="457" y="43"/>
                  <a:pt x="459" y="43"/>
                </a:cubicBezTo>
                <a:cubicBezTo>
                  <a:pt x="459" y="43"/>
                  <a:pt x="459" y="43"/>
                  <a:pt x="459" y="43"/>
                </a:cubicBezTo>
                <a:cubicBezTo>
                  <a:pt x="460" y="42"/>
                  <a:pt x="461" y="40"/>
                  <a:pt x="462" y="39"/>
                </a:cubicBezTo>
                <a:close/>
                <a:moveTo>
                  <a:pt x="457" y="31"/>
                </a:moveTo>
                <a:cubicBezTo>
                  <a:pt x="446" y="29"/>
                  <a:pt x="435" y="28"/>
                  <a:pt x="423" y="27"/>
                </a:cubicBezTo>
                <a:cubicBezTo>
                  <a:pt x="423" y="27"/>
                  <a:pt x="423" y="27"/>
                  <a:pt x="423" y="27"/>
                </a:cubicBezTo>
                <a:cubicBezTo>
                  <a:pt x="425" y="27"/>
                  <a:pt x="426" y="27"/>
                  <a:pt x="428" y="27"/>
                </a:cubicBezTo>
                <a:cubicBezTo>
                  <a:pt x="428" y="27"/>
                  <a:pt x="428" y="27"/>
                  <a:pt x="428" y="27"/>
                </a:cubicBezTo>
                <a:cubicBezTo>
                  <a:pt x="437" y="29"/>
                  <a:pt x="447" y="30"/>
                  <a:pt x="456" y="32"/>
                </a:cubicBezTo>
                <a:cubicBezTo>
                  <a:pt x="456" y="32"/>
                  <a:pt x="456" y="32"/>
                  <a:pt x="456" y="32"/>
                </a:cubicBezTo>
                <a:cubicBezTo>
                  <a:pt x="457" y="32"/>
                  <a:pt x="457" y="31"/>
                  <a:pt x="457" y="31"/>
                </a:cubicBezTo>
                <a:close/>
                <a:moveTo>
                  <a:pt x="451" y="37"/>
                </a:moveTo>
                <a:cubicBezTo>
                  <a:pt x="360" y="36"/>
                  <a:pt x="268" y="36"/>
                  <a:pt x="180" y="52"/>
                </a:cubicBezTo>
                <a:cubicBezTo>
                  <a:pt x="180" y="52"/>
                  <a:pt x="180" y="52"/>
                  <a:pt x="180" y="52"/>
                </a:cubicBezTo>
                <a:cubicBezTo>
                  <a:pt x="136" y="64"/>
                  <a:pt x="96" y="79"/>
                  <a:pt x="66" y="95"/>
                </a:cubicBezTo>
                <a:cubicBezTo>
                  <a:pt x="66" y="95"/>
                  <a:pt x="66" y="95"/>
                  <a:pt x="66" y="95"/>
                </a:cubicBezTo>
                <a:cubicBezTo>
                  <a:pt x="180" y="68"/>
                  <a:pt x="281" y="35"/>
                  <a:pt x="391" y="37"/>
                </a:cubicBezTo>
                <a:cubicBezTo>
                  <a:pt x="391" y="37"/>
                  <a:pt x="391" y="37"/>
                  <a:pt x="391" y="37"/>
                </a:cubicBezTo>
                <a:cubicBezTo>
                  <a:pt x="409" y="38"/>
                  <a:pt x="427" y="39"/>
                  <a:pt x="445" y="41"/>
                </a:cubicBezTo>
                <a:cubicBezTo>
                  <a:pt x="445" y="41"/>
                  <a:pt x="445" y="41"/>
                  <a:pt x="445" y="41"/>
                </a:cubicBezTo>
                <a:cubicBezTo>
                  <a:pt x="447" y="40"/>
                  <a:pt x="449" y="38"/>
                  <a:pt x="451" y="37"/>
                </a:cubicBezTo>
                <a:close/>
                <a:moveTo>
                  <a:pt x="434" y="33"/>
                </a:moveTo>
                <a:cubicBezTo>
                  <a:pt x="432" y="32"/>
                  <a:pt x="429" y="32"/>
                  <a:pt x="427" y="31"/>
                </a:cubicBezTo>
                <a:cubicBezTo>
                  <a:pt x="427" y="31"/>
                  <a:pt x="427" y="31"/>
                  <a:pt x="427" y="31"/>
                </a:cubicBezTo>
                <a:cubicBezTo>
                  <a:pt x="406" y="29"/>
                  <a:pt x="383" y="27"/>
                  <a:pt x="360" y="27"/>
                </a:cubicBezTo>
                <a:cubicBezTo>
                  <a:pt x="360" y="27"/>
                  <a:pt x="360" y="27"/>
                  <a:pt x="360" y="27"/>
                </a:cubicBezTo>
                <a:cubicBezTo>
                  <a:pt x="350" y="26"/>
                  <a:pt x="340" y="27"/>
                  <a:pt x="330" y="27"/>
                </a:cubicBezTo>
                <a:cubicBezTo>
                  <a:pt x="330" y="27"/>
                  <a:pt x="330" y="27"/>
                  <a:pt x="330" y="27"/>
                </a:cubicBezTo>
                <a:cubicBezTo>
                  <a:pt x="297" y="29"/>
                  <a:pt x="264" y="34"/>
                  <a:pt x="232" y="40"/>
                </a:cubicBezTo>
                <a:cubicBezTo>
                  <a:pt x="232" y="40"/>
                  <a:pt x="232" y="40"/>
                  <a:pt x="232" y="40"/>
                </a:cubicBezTo>
                <a:cubicBezTo>
                  <a:pt x="298" y="32"/>
                  <a:pt x="366" y="32"/>
                  <a:pt x="434" y="33"/>
                </a:cubicBezTo>
                <a:close/>
                <a:moveTo>
                  <a:pt x="241" y="34"/>
                </a:moveTo>
                <a:cubicBezTo>
                  <a:pt x="196" y="41"/>
                  <a:pt x="153" y="51"/>
                  <a:pt x="115" y="63"/>
                </a:cubicBezTo>
                <a:cubicBezTo>
                  <a:pt x="115" y="63"/>
                  <a:pt x="115" y="63"/>
                  <a:pt x="115" y="63"/>
                </a:cubicBezTo>
                <a:cubicBezTo>
                  <a:pt x="136" y="57"/>
                  <a:pt x="157" y="52"/>
                  <a:pt x="179" y="48"/>
                </a:cubicBezTo>
                <a:cubicBezTo>
                  <a:pt x="179" y="48"/>
                  <a:pt x="179" y="48"/>
                  <a:pt x="179" y="48"/>
                </a:cubicBezTo>
                <a:cubicBezTo>
                  <a:pt x="199" y="43"/>
                  <a:pt x="220" y="38"/>
                  <a:pt x="241" y="34"/>
                </a:cubicBezTo>
                <a:close/>
              </a:path>
            </a:pathLst>
          </a:custGeom>
          <a:solidFill>
            <a:schemeClr val="bg1"/>
          </a:solidFill>
          <a:ln w="4667" cap="flat" cmpd="sng" algn="ctr">
            <a:noFill/>
            <a:prstDash val="solid"/>
            <a:round/>
            <a:headEnd type="none" w="med" len="med"/>
            <a:tailEnd type="none" w="med" len="med"/>
          </a:ln>
        </p:spPr>
        <p:txBody>
          <a:bodyPr vert="horz" wrap="square" lIns="35510" tIns="17757" rIns="35510" bIns="17757" numCol="1" anchor="t" anchorCtr="0" compatLnSpc="1">
            <a:prstTxWarp prst="textNoShape">
              <a:avLst/>
            </a:prstTxWarp>
          </a:bodyPr>
          <a:lstStyle/>
          <a:p>
            <a:endParaRPr lang="en-US">
              <a:solidFill>
                <a:srgbClr val="575757"/>
              </a:solidFill>
              <a:latin typeface="+mn-lt"/>
            </a:endParaRPr>
          </a:p>
        </p:txBody>
      </p:sp>
      <p:grpSp>
        <p:nvGrpSpPr>
          <p:cNvPr id="10" name="Group 9">
            <a:extLst>
              <a:ext uri="{FF2B5EF4-FFF2-40B4-BE49-F238E27FC236}">
                <a16:creationId xmlns:a16="http://schemas.microsoft.com/office/drawing/2014/main" id="{CFE376FB-F302-4384-ADF6-97BF776C3D60}"/>
              </a:ext>
            </a:extLst>
          </p:cNvPr>
          <p:cNvGrpSpPr/>
          <p:nvPr/>
        </p:nvGrpSpPr>
        <p:grpSpPr>
          <a:xfrm>
            <a:off x="8351114" y="4581616"/>
            <a:ext cx="1653323" cy="1499543"/>
            <a:chOff x="2453865" y="4173080"/>
            <a:chExt cx="1828800" cy="1670402"/>
          </a:xfrm>
        </p:grpSpPr>
        <p:pic>
          <p:nvPicPr>
            <p:cNvPr id="28" name="Picture 6" descr="Image result for save the children school">
              <a:extLst>
                <a:ext uri="{FF2B5EF4-FFF2-40B4-BE49-F238E27FC236}">
                  <a16:creationId xmlns:a16="http://schemas.microsoft.com/office/drawing/2014/main" id="{13A8F81F-E3F9-4F53-BFC2-AB51DB2847D6}"/>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24491" r="19259"/>
            <a:stretch/>
          </p:blipFill>
          <p:spPr bwMode="auto">
            <a:xfrm>
              <a:off x="2453865" y="4207635"/>
              <a:ext cx="1828800" cy="1635847"/>
            </a:xfrm>
            <a:prstGeom prst="rect">
              <a:avLst/>
            </a:prstGeom>
            <a:noFill/>
            <a:extLst>
              <a:ext uri="{909E8E84-426E-40dd-AFC4-6F175D3DCCD1}">
                <a14:hiddenFill xmlns:a14="http://schemas.microsoft.com/office/drawing/2010/main" xmlns="">
                  <a:solidFill>
                    <a:srgbClr val="FFFFFF"/>
                  </a:solidFill>
                </a14:hiddenFill>
              </a:ext>
            </a:extLst>
          </p:spPr>
        </p:pic>
        <p:cxnSp>
          <p:nvCxnSpPr>
            <p:cNvPr id="39" name="Straight Connector 38">
              <a:extLst>
                <a:ext uri="{FF2B5EF4-FFF2-40B4-BE49-F238E27FC236}">
                  <a16:creationId xmlns:a16="http://schemas.microsoft.com/office/drawing/2014/main" id="{48A7853B-5F69-404A-BB0F-FFFF5BB8F6EB}"/>
                </a:ext>
              </a:extLst>
            </p:cNvPr>
            <p:cNvCxnSpPr/>
            <p:nvPr/>
          </p:nvCxnSpPr>
          <p:spPr>
            <a:xfrm>
              <a:off x="2468227" y="4197562"/>
              <a:ext cx="1800075" cy="0"/>
            </a:xfrm>
            <a:prstGeom prst="line">
              <a:avLst/>
            </a:prstGeom>
            <a:ln w="381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9791D6D-10EF-4E22-B5DD-74252C770F3E}"/>
                </a:ext>
              </a:extLst>
            </p:cNvPr>
            <p:cNvCxnSpPr/>
            <p:nvPr/>
          </p:nvCxnSpPr>
          <p:spPr>
            <a:xfrm>
              <a:off x="2468227" y="5818996"/>
              <a:ext cx="1800075" cy="0"/>
            </a:xfrm>
            <a:prstGeom prst="line">
              <a:avLst/>
            </a:prstGeom>
            <a:ln w="381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1A16F5B3-4F01-47B4-86A4-4F0566349D3B}"/>
                </a:ext>
              </a:extLst>
            </p:cNvPr>
            <p:cNvSpPr/>
            <p:nvPr/>
          </p:nvSpPr>
          <p:spPr>
            <a:xfrm>
              <a:off x="2453865" y="4173080"/>
              <a:ext cx="1828800" cy="1670386"/>
            </a:xfrm>
            <a:prstGeom prst="rect">
              <a:avLst/>
            </a:prstGeom>
            <a:solidFill>
              <a:srgbClr val="9A9A9A">
                <a:alpha val="79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a:solidFill>
                    <a:srgbClr val="FFFFFF"/>
                  </a:solidFill>
                </a:rPr>
                <a:t>Non-formal:</a:t>
              </a:r>
            </a:p>
            <a:p>
              <a:pPr algn="ctr"/>
              <a:r>
                <a:rPr lang="en-US">
                  <a:solidFill>
                    <a:srgbClr val="FFFFFF"/>
                  </a:solidFill>
                </a:rPr>
                <a:t>Existing ed providers</a:t>
              </a:r>
            </a:p>
          </p:txBody>
        </p:sp>
      </p:grpSp>
      <p:sp>
        <p:nvSpPr>
          <p:cNvPr id="55" name="Title 1">
            <a:extLst>
              <a:ext uri="{FF2B5EF4-FFF2-40B4-BE49-F238E27FC236}">
                <a16:creationId xmlns:a16="http://schemas.microsoft.com/office/drawing/2014/main" id="{B08890E1-604B-4B7B-A7B3-5415E80BFCD2}"/>
              </a:ext>
            </a:extLst>
          </p:cNvPr>
          <p:cNvSpPr txBox="1">
            <a:spLocks/>
          </p:cNvSpPr>
          <p:nvPr/>
        </p:nvSpPr>
        <p:spPr>
          <a:xfrm>
            <a:off x="845044" y="2148232"/>
            <a:ext cx="4570771" cy="4431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a:lstStyle>
          <a:p>
            <a:pPr algn="ctr"/>
            <a:r>
              <a:rPr lang="en-US" sz="3200" b="1">
                <a:solidFill>
                  <a:srgbClr val="00A4E1"/>
                </a:solidFill>
              </a:rPr>
              <a:t>Main Use Cases</a:t>
            </a:r>
          </a:p>
        </p:txBody>
      </p:sp>
      <p:sp>
        <p:nvSpPr>
          <p:cNvPr id="60" name="Title 1">
            <a:extLst>
              <a:ext uri="{FF2B5EF4-FFF2-40B4-BE49-F238E27FC236}">
                <a16:creationId xmlns:a16="http://schemas.microsoft.com/office/drawing/2014/main" id="{075FFECB-652B-43DD-B47F-AEE28CEE0120}"/>
              </a:ext>
            </a:extLst>
          </p:cNvPr>
          <p:cNvSpPr txBox="1">
            <a:spLocks/>
          </p:cNvSpPr>
          <p:nvPr/>
        </p:nvSpPr>
        <p:spPr>
          <a:xfrm>
            <a:off x="8219630" y="6204489"/>
            <a:ext cx="1916290"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a:lstStyle>
          <a:p>
            <a:pPr algn="ctr"/>
            <a:r>
              <a:rPr lang="en-US" sz="1400">
                <a:solidFill>
                  <a:schemeClr val="bg1"/>
                </a:solidFill>
              </a:rPr>
              <a:t>e.g. learning centers</a:t>
            </a:r>
          </a:p>
        </p:txBody>
      </p:sp>
      <p:sp>
        <p:nvSpPr>
          <p:cNvPr id="63" name="Title 1">
            <a:extLst>
              <a:ext uri="{FF2B5EF4-FFF2-40B4-BE49-F238E27FC236}">
                <a16:creationId xmlns:a16="http://schemas.microsoft.com/office/drawing/2014/main" id="{97270A66-A8AD-4E56-B16B-EA876D66A025}"/>
              </a:ext>
            </a:extLst>
          </p:cNvPr>
          <p:cNvSpPr txBox="1">
            <a:spLocks/>
          </p:cNvSpPr>
          <p:nvPr/>
        </p:nvSpPr>
        <p:spPr>
          <a:xfrm>
            <a:off x="6403457" y="6209982"/>
            <a:ext cx="1916290" cy="3877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a:lstStyle>
          <a:p>
            <a:pPr algn="ctr"/>
            <a:r>
              <a:rPr lang="en-US" sz="1400">
                <a:solidFill>
                  <a:schemeClr val="bg1"/>
                </a:solidFill>
              </a:rPr>
              <a:t>e.g. government schools</a:t>
            </a:r>
          </a:p>
        </p:txBody>
      </p:sp>
      <p:sp>
        <p:nvSpPr>
          <p:cNvPr id="64" name="Title 1">
            <a:extLst>
              <a:ext uri="{FF2B5EF4-FFF2-40B4-BE49-F238E27FC236}">
                <a16:creationId xmlns:a16="http://schemas.microsoft.com/office/drawing/2014/main" id="{232960B0-DA67-417F-A4F6-5B9CDFB60BCC}"/>
              </a:ext>
            </a:extLst>
          </p:cNvPr>
          <p:cNvSpPr txBox="1">
            <a:spLocks/>
          </p:cNvSpPr>
          <p:nvPr/>
        </p:nvSpPr>
        <p:spPr>
          <a:xfrm>
            <a:off x="10085997" y="6204489"/>
            <a:ext cx="1916290" cy="5816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a:lstStyle>
          <a:p>
            <a:pPr algn="ctr"/>
            <a:r>
              <a:rPr lang="en-US" sz="1400">
                <a:solidFill>
                  <a:schemeClr val="bg1"/>
                </a:solidFill>
              </a:rPr>
              <a:t>e.g. homes, community/religious centers</a:t>
            </a:r>
          </a:p>
        </p:txBody>
      </p:sp>
    </p:spTree>
    <p:extLst>
      <p:ext uri="{BB962C8B-B14F-4D97-AF65-F5344CB8AC3E}">
        <p14:creationId xmlns:p14="http://schemas.microsoft.com/office/powerpoint/2010/main" val="4197896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B09653C8-5337-4FA3-839F-ABA328774A9E}"/>
              </a:ext>
            </a:extLst>
          </p:cNvPr>
          <p:cNvSpPr>
            <a:spLocks noGrp="1"/>
          </p:cNvSpPr>
          <p:nvPr>
            <p:ph type="title"/>
          </p:nvPr>
        </p:nvSpPr>
        <p:spPr>
          <a:xfrm>
            <a:off x="424831" y="1086042"/>
            <a:ext cx="4881800" cy="332399"/>
          </a:xfrm>
        </p:spPr>
        <p:txBody>
          <a:bodyPr/>
          <a:lstStyle/>
          <a:p>
            <a:r>
              <a:rPr lang="en-US">
                <a:solidFill>
                  <a:srgbClr val="00ABEB"/>
                </a:solidFill>
              </a:rPr>
              <a:t>Course Library contains all content</a:t>
            </a:r>
          </a:p>
        </p:txBody>
      </p:sp>
      <p:pic>
        <p:nvPicPr>
          <p:cNvPr id="2" name="Picture 7" descr="Graphical user interface, website&#10;&#10;Description automatically generated">
            <a:extLst>
              <a:ext uri="{FF2B5EF4-FFF2-40B4-BE49-F238E27FC236}">
                <a16:creationId xmlns:a16="http://schemas.microsoft.com/office/drawing/2014/main" id="{8AD3A57E-629D-4EB6-BE62-6E52202086BE}"/>
              </a:ext>
            </a:extLst>
          </p:cNvPr>
          <p:cNvPicPr>
            <a:picLocks noChangeAspect="1"/>
          </p:cNvPicPr>
          <p:nvPr/>
        </p:nvPicPr>
        <p:blipFill>
          <a:blip r:embed="rId3"/>
          <a:stretch>
            <a:fillRect/>
          </a:stretch>
        </p:blipFill>
        <p:spPr>
          <a:xfrm>
            <a:off x="219662" y="1539943"/>
            <a:ext cx="5292138" cy="4117426"/>
          </a:xfrm>
          <a:prstGeom prst="rect">
            <a:avLst/>
          </a:prstGeom>
          <a:ln>
            <a:solidFill>
              <a:srgbClr val="4799CE"/>
            </a:solidFill>
          </a:ln>
        </p:spPr>
      </p:pic>
      <p:pic>
        <p:nvPicPr>
          <p:cNvPr id="3" name="Picture 2">
            <a:extLst>
              <a:ext uri="{FF2B5EF4-FFF2-40B4-BE49-F238E27FC236}">
                <a16:creationId xmlns:a16="http://schemas.microsoft.com/office/drawing/2014/main" id="{E8C30F23-6ABC-4303-B21E-F5CB0D94C62C}"/>
              </a:ext>
            </a:extLst>
          </p:cNvPr>
          <p:cNvPicPr>
            <a:picLocks noChangeAspect="1"/>
          </p:cNvPicPr>
          <p:nvPr/>
        </p:nvPicPr>
        <p:blipFill>
          <a:blip r:embed="rId4"/>
          <a:stretch>
            <a:fillRect/>
          </a:stretch>
        </p:blipFill>
        <p:spPr>
          <a:xfrm>
            <a:off x="6397909" y="1493935"/>
            <a:ext cx="5710964" cy="4237018"/>
          </a:xfrm>
          <a:prstGeom prst="rect">
            <a:avLst/>
          </a:prstGeom>
          <a:ln>
            <a:solidFill>
              <a:srgbClr val="4799CE"/>
            </a:solidFill>
          </a:ln>
        </p:spPr>
      </p:pic>
      <p:sp>
        <p:nvSpPr>
          <p:cNvPr id="6" name="Title 1">
            <a:extLst>
              <a:ext uri="{FF2B5EF4-FFF2-40B4-BE49-F238E27FC236}">
                <a16:creationId xmlns:a16="http://schemas.microsoft.com/office/drawing/2014/main" id="{8E2B6E2C-0DA0-4292-8252-E635932E12A7}"/>
              </a:ext>
            </a:extLst>
          </p:cNvPr>
          <p:cNvSpPr txBox="1">
            <a:spLocks/>
          </p:cNvSpPr>
          <p:nvPr/>
        </p:nvSpPr>
        <p:spPr>
          <a:xfrm>
            <a:off x="7950559" y="1086041"/>
            <a:ext cx="304125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a:lstStyle>
          <a:p>
            <a:r>
              <a:rPr lang="en-US">
                <a:solidFill>
                  <a:schemeClr val="bg1"/>
                </a:solidFill>
              </a:rPr>
              <a:t>Sample Lesson Page</a:t>
            </a:r>
          </a:p>
        </p:txBody>
      </p:sp>
      <p:sp>
        <p:nvSpPr>
          <p:cNvPr id="7" name="Title 1">
            <a:extLst>
              <a:ext uri="{FF2B5EF4-FFF2-40B4-BE49-F238E27FC236}">
                <a16:creationId xmlns:a16="http://schemas.microsoft.com/office/drawing/2014/main" id="{D4F49D88-68B5-43E1-B35E-406E8D8838F2}"/>
              </a:ext>
            </a:extLst>
          </p:cNvPr>
          <p:cNvSpPr txBox="1">
            <a:spLocks/>
          </p:cNvSpPr>
          <p:nvPr/>
        </p:nvSpPr>
        <p:spPr>
          <a:xfrm>
            <a:off x="219662" y="277394"/>
            <a:ext cx="8859695" cy="3877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rgbClr val="FFFFFF"/>
                </a:solidFill>
                <a:latin typeface="+mj-lt"/>
                <a:ea typeface="+mj-ea"/>
                <a:cs typeface="+mj-cs"/>
                <a:sym typeface="+mj-lt"/>
              </a:defRPr>
            </a:lvl1pPr>
          </a:lstStyle>
          <a:p>
            <a:r>
              <a:rPr lang="en-US" sz="2800" b="1">
                <a:solidFill>
                  <a:srgbClr val="00A4E1"/>
                </a:solidFill>
              </a:rPr>
              <a:t>Main User Interfaces of the LP</a:t>
            </a:r>
          </a:p>
        </p:txBody>
      </p:sp>
    </p:spTree>
    <p:extLst>
      <p:ext uri="{BB962C8B-B14F-4D97-AF65-F5344CB8AC3E}">
        <p14:creationId xmlns:p14="http://schemas.microsoft.com/office/powerpoint/2010/main" val="2652481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B09653C8-5337-4FA3-839F-ABA328774A9E}"/>
              </a:ext>
            </a:extLst>
          </p:cNvPr>
          <p:cNvSpPr>
            <a:spLocks noGrp="1"/>
          </p:cNvSpPr>
          <p:nvPr>
            <p:ph type="title"/>
          </p:nvPr>
        </p:nvSpPr>
        <p:spPr>
          <a:xfrm>
            <a:off x="471599" y="1455598"/>
            <a:ext cx="4901785" cy="332399"/>
          </a:xfrm>
        </p:spPr>
        <p:txBody>
          <a:bodyPr/>
          <a:lstStyle/>
          <a:p>
            <a:pPr algn="ctr"/>
            <a:r>
              <a:rPr lang="en-US">
                <a:solidFill>
                  <a:schemeClr val="bg1"/>
                </a:solidFill>
              </a:rPr>
              <a:t>Digital Skills &amp; Literacy </a:t>
            </a:r>
          </a:p>
        </p:txBody>
      </p:sp>
      <p:sp>
        <p:nvSpPr>
          <p:cNvPr id="6" name="Title 1">
            <a:extLst>
              <a:ext uri="{FF2B5EF4-FFF2-40B4-BE49-F238E27FC236}">
                <a16:creationId xmlns:a16="http://schemas.microsoft.com/office/drawing/2014/main" id="{8E2B6E2C-0DA0-4292-8252-E635932E12A7}"/>
              </a:ext>
            </a:extLst>
          </p:cNvPr>
          <p:cNvSpPr txBox="1">
            <a:spLocks/>
          </p:cNvSpPr>
          <p:nvPr/>
        </p:nvSpPr>
        <p:spPr>
          <a:xfrm>
            <a:off x="7101662" y="1453876"/>
            <a:ext cx="4725578"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a:lstStyle>
          <a:p>
            <a:r>
              <a:rPr lang="en-US">
                <a:solidFill>
                  <a:srgbClr val="00A4E1"/>
                </a:solidFill>
              </a:rPr>
              <a:t>Interactive simulations and demos </a:t>
            </a:r>
          </a:p>
        </p:txBody>
      </p:sp>
      <p:pic>
        <p:nvPicPr>
          <p:cNvPr id="4" name="Picture 3">
            <a:extLst>
              <a:ext uri="{FF2B5EF4-FFF2-40B4-BE49-F238E27FC236}">
                <a16:creationId xmlns:a16="http://schemas.microsoft.com/office/drawing/2014/main" id="{308B9298-C61B-4E06-AEF1-3813BEE5805F}"/>
              </a:ext>
            </a:extLst>
          </p:cNvPr>
          <p:cNvPicPr>
            <a:picLocks noChangeAspect="1"/>
          </p:cNvPicPr>
          <p:nvPr/>
        </p:nvPicPr>
        <p:blipFill>
          <a:blip r:embed="rId5"/>
          <a:stretch>
            <a:fillRect/>
          </a:stretch>
        </p:blipFill>
        <p:spPr>
          <a:xfrm>
            <a:off x="83127" y="1856792"/>
            <a:ext cx="5698837" cy="4087859"/>
          </a:xfrm>
          <a:prstGeom prst="rect">
            <a:avLst/>
          </a:prstGeom>
        </p:spPr>
      </p:pic>
      <p:sp>
        <p:nvSpPr>
          <p:cNvPr id="7" name="Title 1">
            <a:extLst>
              <a:ext uri="{FF2B5EF4-FFF2-40B4-BE49-F238E27FC236}">
                <a16:creationId xmlns:a16="http://schemas.microsoft.com/office/drawing/2014/main" id="{F9612B7D-3E5D-4E2E-986C-01E4994DE478}"/>
              </a:ext>
            </a:extLst>
          </p:cNvPr>
          <p:cNvSpPr txBox="1">
            <a:spLocks/>
          </p:cNvSpPr>
          <p:nvPr/>
        </p:nvSpPr>
        <p:spPr>
          <a:xfrm>
            <a:off x="3645107" y="1362063"/>
            <a:ext cx="4901785" cy="5539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rgbClr val="FFFFFF"/>
                </a:solidFill>
                <a:latin typeface="+mj-lt"/>
                <a:ea typeface="+mj-ea"/>
                <a:cs typeface="+mj-cs"/>
                <a:sym typeface="+mj-lt"/>
              </a:defRPr>
            </a:lvl1pPr>
          </a:lstStyle>
          <a:p>
            <a:pPr algn="ctr"/>
            <a:r>
              <a:rPr lang="en-US" sz="4000">
                <a:solidFill>
                  <a:srgbClr val="00ACEC"/>
                </a:solidFill>
              </a:rPr>
              <a:t>&amp; </a:t>
            </a:r>
          </a:p>
        </p:txBody>
      </p:sp>
      <p:pic>
        <p:nvPicPr>
          <p:cNvPr id="3" name="Screen Recording 2">
            <a:hlinkClick r:id="" action="ppaction://media"/>
            <a:extLst>
              <a:ext uri="{FF2B5EF4-FFF2-40B4-BE49-F238E27FC236}">
                <a16:creationId xmlns:a16="http://schemas.microsoft.com/office/drawing/2014/main" id="{BF9F7159-86BB-48BD-A8DC-9E2E25024E24}"/>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6320577" y="1856792"/>
            <a:ext cx="5788296" cy="4087860"/>
          </a:xfrm>
          <a:prstGeom prst="rect">
            <a:avLst/>
          </a:prstGeom>
          <a:ln>
            <a:solidFill>
              <a:srgbClr val="00ACEC"/>
            </a:solidFill>
          </a:ln>
        </p:spPr>
      </p:pic>
      <p:sp>
        <p:nvSpPr>
          <p:cNvPr id="9" name="Title 1">
            <a:extLst>
              <a:ext uri="{FF2B5EF4-FFF2-40B4-BE49-F238E27FC236}">
                <a16:creationId xmlns:a16="http://schemas.microsoft.com/office/drawing/2014/main" id="{98ABB355-D1A1-4907-BE91-2D3BB5FF228B}"/>
              </a:ext>
            </a:extLst>
          </p:cNvPr>
          <p:cNvSpPr txBox="1">
            <a:spLocks/>
          </p:cNvSpPr>
          <p:nvPr/>
        </p:nvSpPr>
        <p:spPr>
          <a:xfrm>
            <a:off x="201696" y="349043"/>
            <a:ext cx="8859695" cy="3877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rgbClr val="FFFFFF"/>
                </a:solidFill>
                <a:latin typeface="+mj-lt"/>
                <a:ea typeface="+mj-ea"/>
                <a:cs typeface="+mj-cs"/>
                <a:sym typeface="+mj-lt"/>
              </a:defRPr>
            </a:lvl1pPr>
          </a:lstStyle>
          <a:p>
            <a:r>
              <a:rPr lang="en-US" sz="2800" b="1">
                <a:solidFill>
                  <a:schemeClr val="bg1"/>
                </a:solidFill>
              </a:rPr>
              <a:t>The Learning Passport includes </a:t>
            </a:r>
            <a:r>
              <a:rPr lang="en-US" sz="2800" b="1">
                <a:solidFill>
                  <a:srgbClr val="00A4E1"/>
                </a:solidFill>
              </a:rPr>
              <a:t>content</a:t>
            </a:r>
            <a:r>
              <a:rPr lang="en-US" sz="2800" b="1">
                <a:solidFill>
                  <a:schemeClr val="bg1"/>
                </a:solidFill>
              </a:rPr>
              <a:t> </a:t>
            </a:r>
            <a:r>
              <a:rPr lang="en-US" sz="2800" b="1">
                <a:solidFill>
                  <a:srgbClr val="00A4E1"/>
                </a:solidFill>
              </a:rPr>
              <a:t>such as…</a:t>
            </a:r>
          </a:p>
        </p:txBody>
      </p:sp>
    </p:spTree>
    <p:extLst>
      <p:ext uri="{BB962C8B-B14F-4D97-AF65-F5344CB8AC3E}">
        <p14:creationId xmlns:p14="http://schemas.microsoft.com/office/powerpoint/2010/main" val="3482252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957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4F49D88-68B5-43E1-B35E-406E8D8838F2}"/>
              </a:ext>
            </a:extLst>
          </p:cNvPr>
          <p:cNvSpPr txBox="1">
            <a:spLocks/>
          </p:cNvSpPr>
          <p:nvPr/>
        </p:nvSpPr>
        <p:spPr>
          <a:xfrm>
            <a:off x="219662" y="277394"/>
            <a:ext cx="8859695" cy="3877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rgbClr val="FFFFFF"/>
                </a:solidFill>
                <a:latin typeface="+mj-lt"/>
                <a:ea typeface="+mj-ea"/>
                <a:cs typeface="+mj-cs"/>
                <a:sym typeface="+mj-lt"/>
              </a:defRPr>
            </a:lvl1pPr>
          </a:lstStyle>
          <a:p>
            <a:r>
              <a:rPr lang="en-US" sz="2800" b="1">
                <a:solidFill>
                  <a:srgbClr val="00A4E1"/>
                </a:solidFill>
              </a:rPr>
              <a:t>Access the LP via a Mobile App</a:t>
            </a:r>
            <a:endParaRPr lang="en-US"/>
          </a:p>
        </p:txBody>
      </p:sp>
      <p:grpSp>
        <p:nvGrpSpPr>
          <p:cNvPr id="11" name="Group 10">
            <a:extLst>
              <a:ext uri="{FF2B5EF4-FFF2-40B4-BE49-F238E27FC236}">
                <a16:creationId xmlns:a16="http://schemas.microsoft.com/office/drawing/2014/main" id="{5578B018-9DFF-483B-B573-73DE75C38652}"/>
              </a:ext>
            </a:extLst>
          </p:cNvPr>
          <p:cNvGrpSpPr/>
          <p:nvPr/>
        </p:nvGrpSpPr>
        <p:grpSpPr>
          <a:xfrm>
            <a:off x="677511" y="1264098"/>
            <a:ext cx="2560989" cy="4951017"/>
            <a:chOff x="1896711" y="1264098"/>
            <a:chExt cx="2560989" cy="4951017"/>
          </a:xfrm>
        </p:grpSpPr>
        <p:pic>
          <p:nvPicPr>
            <p:cNvPr id="20" name="Picture 19">
              <a:extLst>
                <a:ext uri="{FF2B5EF4-FFF2-40B4-BE49-F238E27FC236}">
                  <a16:creationId xmlns:a16="http://schemas.microsoft.com/office/drawing/2014/main" id="{A08FE8E5-8A8A-4145-B3A8-1E295165C9C8}"/>
                </a:ext>
              </a:extLst>
            </p:cNvPr>
            <p:cNvPicPr>
              <a:picLocks noChangeAspect="1"/>
            </p:cNvPicPr>
            <p:nvPr/>
          </p:nvPicPr>
          <p:blipFill rotWithShape="1">
            <a:blip r:embed="rId3"/>
            <a:srcRect t="10451"/>
            <a:stretch/>
          </p:blipFill>
          <p:spPr>
            <a:xfrm>
              <a:off x="1921023" y="1457041"/>
              <a:ext cx="2496756" cy="4304769"/>
            </a:xfrm>
            <a:prstGeom prst="rect">
              <a:avLst/>
            </a:prstGeom>
          </p:spPr>
        </p:pic>
        <p:grpSp>
          <p:nvGrpSpPr>
            <p:cNvPr id="21" name="Google Shape;2092;p33">
              <a:extLst>
                <a:ext uri="{FF2B5EF4-FFF2-40B4-BE49-F238E27FC236}">
                  <a16:creationId xmlns:a16="http://schemas.microsoft.com/office/drawing/2014/main" id="{8CCE1B2C-5D7E-4311-985E-437299AC4C4E}"/>
                </a:ext>
              </a:extLst>
            </p:cNvPr>
            <p:cNvGrpSpPr/>
            <p:nvPr/>
          </p:nvGrpSpPr>
          <p:grpSpPr>
            <a:xfrm>
              <a:off x="1896711" y="1264098"/>
              <a:ext cx="2560989" cy="4951017"/>
              <a:chOff x="2547150" y="238125"/>
              <a:chExt cx="2525675" cy="5238750"/>
            </a:xfrm>
          </p:grpSpPr>
          <p:sp>
            <p:nvSpPr>
              <p:cNvPr id="22" name="Google Shape;2093;p33">
                <a:extLst>
                  <a:ext uri="{FF2B5EF4-FFF2-40B4-BE49-F238E27FC236}">
                    <a16:creationId xmlns:a16="http://schemas.microsoft.com/office/drawing/2014/main" id="{3A46699B-6D8D-46D6-BA0F-11A0D9C5DA71}"/>
                  </a:ext>
                </a:extLst>
              </p:cNvPr>
              <p:cNvSpPr/>
              <p:nvPr/>
            </p:nvSpPr>
            <p:spPr>
              <a:xfrm>
                <a:off x="2547150" y="238125"/>
                <a:ext cx="2525675" cy="5238750"/>
              </a:xfrm>
              <a:custGeom>
                <a:avLst/>
                <a:gdLst/>
                <a:ahLst/>
                <a:cxnLst/>
                <a:rect l="l" t="t" r="r" b="b"/>
                <a:pathLst>
                  <a:path w="101027" h="209550" extrusionOk="0">
                    <a:moveTo>
                      <a:pt x="98629" y="18886"/>
                    </a:moveTo>
                    <a:lnTo>
                      <a:pt x="98629" y="190364"/>
                    </a:lnTo>
                    <a:lnTo>
                      <a:pt x="2398" y="190364"/>
                    </a:lnTo>
                    <a:lnTo>
                      <a:pt x="2398" y="18886"/>
                    </a:lnTo>
                    <a:close/>
                    <a:moveTo>
                      <a:pt x="10343" y="0"/>
                    </a:moveTo>
                    <a:lnTo>
                      <a:pt x="9293" y="75"/>
                    </a:lnTo>
                    <a:lnTo>
                      <a:pt x="8244" y="225"/>
                    </a:lnTo>
                    <a:lnTo>
                      <a:pt x="7270" y="450"/>
                    </a:lnTo>
                    <a:lnTo>
                      <a:pt x="6295" y="824"/>
                    </a:lnTo>
                    <a:lnTo>
                      <a:pt x="5396" y="1274"/>
                    </a:lnTo>
                    <a:lnTo>
                      <a:pt x="4572" y="1799"/>
                    </a:lnTo>
                    <a:lnTo>
                      <a:pt x="3747" y="2398"/>
                    </a:lnTo>
                    <a:lnTo>
                      <a:pt x="2998" y="3073"/>
                    </a:lnTo>
                    <a:lnTo>
                      <a:pt x="2323" y="3747"/>
                    </a:lnTo>
                    <a:lnTo>
                      <a:pt x="1724" y="4572"/>
                    </a:lnTo>
                    <a:lnTo>
                      <a:pt x="1199" y="5396"/>
                    </a:lnTo>
                    <a:lnTo>
                      <a:pt x="824" y="6370"/>
                    </a:lnTo>
                    <a:lnTo>
                      <a:pt x="450" y="7270"/>
                    </a:lnTo>
                    <a:lnTo>
                      <a:pt x="225" y="8319"/>
                    </a:lnTo>
                    <a:lnTo>
                      <a:pt x="0" y="9293"/>
                    </a:lnTo>
                    <a:lnTo>
                      <a:pt x="0" y="10343"/>
                    </a:lnTo>
                    <a:lnTo>
                      <a:pt x="0" y="199207"/>
                    </a:lnTo>
                    <a:lnTo>
                      <a:pt x="0" y="200257"/>
                    </a:lnTo>
                    <a:lnTo>
                      <a:pt x="225" y="201231"/>
                    </a:lnTo>
                    <a:lnTo>
                      <a:pt x="450" y="202280"/>
                    </a:lnTo>
                    <a:lnTo>
                      <a:pt x="824" y="203180"/>
                    </a:lnTo>
                    <a:lnTo>
                      <a:pt x="1199" y="204154"/>
                    </a:lnTo>
                    <a:lnTo>
                      <a:pt x="1724" y="204978"/>
                    </a:lnTo>
                    <a:lnTo>
                      <a:pt x="2323" y="205803"/>
                    </a:lnTo>
                    <a:lnTo>
                      <a:pt x="2998" y="206477"/>
                    </a:lnTo>
                    <a:lnTo>
                      <a:pt x="3747" y="207152"/>
                    </a:lnTo>
                    <a:lnTo>
                      <a:pt x="4572" y="207751"/>
                    </a:lnTo>
                    <a:lnTo>
                      <a:pt x="5396" y="208276"/>
                    </a:lnTo>
                    <a:lnTo>
                      <a:pt x="6295" y="208726"/>
                    </a:lnTo>
                    <a:lnTo>
                      <a:pt x="7270" y="209100"/>
                    </a:lnTo>
                    <a:lnTo>
                      <a:pt x="8244" y="209325"/>
                    </a:lnTo>
                    <a:lnTo>
                      <a:pt x="9293" y="209475"/>
                    </a:lnTo>
                    <a:lnTo>
                      <a:pt x="10343" y="209550"/>
                    </a:lnTo>
                    <a:lnTo>
                      <a:pt x="90610" y="209550"/>
                    </a:lnTo>
                    <a:lnTo>
                      <a:pt x="91659" y="209475"/>
                    </a:lnTo>
                    <a:lnTo>
                      <a:pt x="92708" y="209325"/>
                    </a:lnTo>
                    <a:lnTo>
                      <a:pt x="93682" y="209100"/>
                    </a:lnTo>
                    <a:lnTo>
                      <a:pt x="94657" y="208726"/>
                    </a:lnTo>
                    <a:lnTo>
                      <a:pt x="95556" y="208276"/>
                    </a:lnTo>
                    <a:lnTo>
                      <a:pt x="96455" y="207751"/>
                    </a:lnTo>
                    <a:lnTo>
                      <a:pt x="97205" y="207152"/>
                    </a:lnTo>
                    <a:lnTo>
                      <a:pt x="97954" y="206477"/>
                    </a:lnTo>
                    <a:lnTo>
                      <a:pt x="98629" y="205803"/>
                    </a:lnTo>
                    <a:lnTo>
                      <a:pt x="99228" y="204978"/>
                    </a:lnTo>
                    <a:lnTo>
                      <a:pt x="99753" y="204154"/>
                    </a:lnTo>
                    <a:lnTo>
                      <a:pt x="100203" y="203180"/>
                    </a:lnTo>
                    <a:lnTo>
                      <a:pt x="100577" y="202280"/>
                    </a:lnTo>
                    <a:lnTo>
                      <a:pt x="100802" y="201231"/>
                    </a:lnTo>
                    <a:lnTo>
                      <a:pt x="100952" y="200257"/>
                    </a:lnTo>
                    <a:lnTo>
                      <a:pt x="101027" y="199207"/>
                    </a:lnTo>
                    <a:lnTo>
                      <a:pt x="101027" y="10343"/>
                    </a:lnTo>
                    <a:lnTo>
                      <a:pt x="100952" y="9293"/>
                    </a:lnTo>
                    <a:lnTo>
                      <a:pt x="100802" y="8319"/>
                    </a:lnTo>
                    <a:lnTo>
                      <a:pt x="100577" y="7270"/>
                    </a:lnTo>
                    <a:lnTo>
                      <a:pt x="100203" y="6370"/>
                    </a:lnTo>
                    <a:lnTo>
                      <a:pt x="99753" y="5396"/>
                    </a:lnTo>
                    <a:lnTo>
                      <a:pt x="99228" y="4572"/>
                    </a:lnTo>
                    <a:lnTo>
                      <a:pt x="98629" y="3747"/>
                    </a:lnTo>
                    <a:lnTo>
                      <a:pt x="97954" y="3073"/>
                    </a:lnTo>
                    <a:lnTo>
                      <a:pt x="97205" y="2398"/>
                    </a:lnTo>
                    <a:lnTo>
                      <a:pt x="96455" y="1799"/>
                    </a:lnTo>
                    <a:lnTo>
                      <a:pt x="95556" y="1274"/>
                    </a:lnTo>
                    <a:lnTo>
                      <a:pt x="94657" y="824"/>
                    </a:lnTo>
                    <a:lnTo>
                      <a:pt x="93682" y="450"/>
                    </a:lnTo>
                    <a:lnTo>
                      <a:pt x="92708" y="225"/>
                    </a:lnTo>
                    <a:lnTo>
                      <a:pt x="91659" y="75"/>
                    </a:lnTo>
                    <a:lnTo>
                      <a:pt x="90610" y="0"/>
                    </a:lnTo>
                    <a:close/>
                  </a:path>
                </a:pathLst>
              </a:custGeom>
              <a:solidFill>
                <a:sysClr val="windowText" lastClr="000000"/>
              </a:solidFill>
              <a:ln w="19050" cap="flat" cmpd="sng">
                <a:solidFill>
                  <a:sysClr val="windowText" lastClr="000000"/>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sp>
            <p:nvSpPr>
              <p:cNvPr id="23" name="Google Shape;2094;p33">
                <a:extLst>
                  <a:ext uri="{FF2B5EF4-FFF2-40B4-BE49-F238E27FC236}">
                    <a16:creationId xmlns:a16="http://schemas.microsoft.com/office/drawing/2014/main" id="{7DE0FA63-B2C6-4909-B76D-706CB6A62BC1}"/>
                  </a:ext>
                </a:extLst>
              </p:cNvPr>
              <p:cNvSpPr/>
              <p:nvPr/>
            </p:nvSpPr>
            <p:spPr>
              <a:xfrm>
                <a:off x="3557025" y="5147100"/>
                <a:ext cx="504050" cy="179900"/>
              </a:xfrm>
              <a:custGeom>
                <a:avLst/>
                <a:gdLst/>
                <a:ahLst/>
                <a:cxnLst/>
                <a:rect l="l" t="t" r="r" b="b"/>
                <a:pathLst>
                  <a:path w="20162" h="7196" extrusionOk="0">
                    <a:moveTo>
                      <a:pt x="3598" y="0"/>
                    </a:moveTo>
                    <a:lnTo>
                      <a:pt x="2849" y="75"/>
                    </a:lnTo>
                    <a:lnTo>
                      <a:pt x="2174" y="300"/>
                    </a:lnTo>
                    <a:lnTo>
                      <a:pt x="1575" y="600"/>
                    </a:lnTo>
                    <a:lnTo>
                      <a:pt x="1050" y="1050"/>
                    </a:lnTo>
                    <a:lnTo>
                      <a:pt x="600" y="1574"/>
                    </a:lnTo>
                    <a:lnTo>
                      <a:pt x="301" y="2174"/>
                    </a:lnTo>
                    <a:lnTo>
                      <a:pt x="76" y="2848"/>
                    </a:lnTo>
                    <a:lnTo>
                      <a:pt x="1" y="3598"/>
                    </a:lnTo>
                    <a:lnTo>
                      <a:pt x="76" y="4347"/>
                    </a:lnTo>
                    <a:lnTo>
                      <a:pt x="301" y="5022"/>
                    </a:lnTo>
                    <a:lnTo>
                      <a:pt x="600" y="5621"/>
                    </a:lnTo>
                    <a:lnTo>
                      <a:pt x="1050" y="6146"/>
                    </a:lnTo>
                    <a:lnTo>
                      <a:pt x="1575" y="6596"/>
                    </a:lnTo>
                    <a:lnTo>
                      <a:pt x="2174" y="6896"/>
                    </a:lnTo>
                    <a:lnTo>
                      <a:pt x="2849" y="7120"/>
                    </a:lnTo>
                    <a:lnTo>
                      <a:pt x="3598" y="7195"/>
                    </a:lnTo>
                    <a:lnTo>
                      <a:pt x="16639" y="7195"/>
                    </a:lnTo>
                    <a:lnTo>
                      <a:pt x="17313" y="7120"/>
                    </a:lnTo>
                    <a:lnTo>
                      <a:pt x="17988" y="6896"/>
                    </a:lnTo>
                    <a:lnTo>
                      <a:pt x="18587" y="6596"/>
                    </a:lnTo>
                    <a:lnTo>
                      <a:pt x="19112" y="6146"/>
                    </a:lnTo>
                    <a:lnTo>
                      <a:pt x="19562" y="5621"/>
                    </a:lnTo>
                    <a:lnTo>
                      <a:pt x="19861" y="5022"/>
                    </a:lnTo>
                    <a:lnTo>
                      <a:pt x="20086" y="4347"/>
                    </a:lnTo>
                    <a:lnTo>
                      <a:pt x="20161" y="3598"/>
                    </a:lnTo>
                    <a:lnTo>
                      <a:pt x="20086" y="2848"/>
                    </a:lnTo>
                    <a:lnTo>
                      <a:pt x="19861" y="2174"/>
                    </a:lnTo>
                    <a:lnTo>
                      <a:pt x="19562" y="1574"/>
                    </a:lnTo>
                    <a:lnTo>
                      <a:pt x="19112" y="1050"/>
                    </a:lnTo>
                    <a:lnTo>
                      <a:pt x="18587" y="600"/>
                    </a:lnTo>
                    <a:lnTo>
                      <a:pt x="17988" y="300"/>
                    </a:lnTo>
                    <a:lnTo>
                      <a:pt x="17313" y="75"/>
                    </a:lnTo>
                    <a:lnTo>
                      <a:pt x="16639" y="0"/>
                    </a:lnTo>
                    <a:close/>
                  </a:path>
                </a:pathLst>
              </a:custGeom>
              <a:solidFill>
                <a:sysClr val="window" lastClr="FFFFFF"/>
              </a:solidFill>
              <a:ln>
                <a:solidFill>
                  <a:sysClr val="windowText" lastClr="000000"/>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sp>
            <p:nvSpPr>
              <p:cNvPr id="24" name="Google Shape;2095;p33">
                <a:extLst>
                  <a:ext uri="{FF2B5EF4-FFF2-40B4-BE49-F238E27FC236}">
                    <a16:creationId xmlns:a16="http://schemas.microsoft.com/office/drawing/2014/main" id="{CA312511-A34B-4441-AAF5-E6D218DD73B1}"/>
                  </a:ext>
                </a:extLst>
              </p:cNvPr>
              <p:cNvSpPr/>
              <p:nvPr/>
            </p:nvSpPr>
            <p:spPr>
              <a:xfrm>
                <a:off x="3008050" y="423600"/>
                <a:ext cx="99325" cy="99325"/>
              </a:xfrm>
              <a:custGeom>
                <a:avLst/>
                <a:gdLst/>
                <a:ahLst/>
                <a:cxnLst/>
                <a:rect l="l" t="t" r="r" b="b"/>
                <a:pathLst>
                  <a:path w="3973" h="3973" extrusionOk="0">
                    <a:moveTo>
                      <a:pt x="2024" y="1"/>
                    </a:moveTo>
                    <a:lnTo>
                      <a:pt x="1575" y="76"/>
                    </a:lnTo>
                    <a:lnTo>
                      <a:pt x="1200" y="151"/>
                    </a:lnTo>
                    <a:lnTo>
                      <a:pt x="900" y="375"/>
                    </a:lnTo>
                    <a:lnTo>
                      <a:pt x="600" y="600"/>
                    </a:lnTo>
                    <a:lnTo>
                      <a:pt x="375" y="900"/>
                    </a:lnTo>
                    <a:lnTo>
                      <a:pt x="151" y="1200"/>
                    </a:lnTo>
                    <a:lnTo>
                      <a:pt x="76" y="1575"/>
                    </a:lnTo>
                    <a:lnTo>
                      <a:pt x="1" y="2024"/>
                    </a:lnTo>
                    <a:lnTo>
                      <a:pt x="76" y="2399"/>
                    </a:lnTo>
                    <a:lnTo>
                      <a:pt x="151" y="2774"/>
                    </a:lnTo>
                    <a:lnTo>
                      <a:pt x="375" y="3073"/>
                    </a:lnTo>
                    <a:lnTo>
                      <a:pt x="600" y="3373"/>
                    </a:lnTo>
                    <a:lnTo>
                      <a:pt x="900" y="3673"/>
                    </a:lnTo>
                    <a:lnTo>
                      <a:pt x="1200" y="3823"/>
                    </a:lnTo>
                    <a:lnTo>
                      <a:pt x="1575" y="3973"/>
                    </a:lnTo>
                    <a:lnTo>
                      <a:pt x="2399" y="3973"/>
                    </a:lnTo>
                    <a:lnTo>
                      <a:pt x="2774" y="3823"/>
                    </a:lnTo>
                    <a:lnTo>
                      <a:pt x="3073" y="3673"/>
                    </a:lnTo>
                    <a:lnTo>
                      <a:pt x="3373" y="3373"/>
                    </a:lnTo>
                    <a:lnTo>
                      <a:pt x="3598" y="3073"/>
                    </a:lnTo>
                    <a:lnTo>
                      <a:pt x="3823" y="2774"/>
                    </a:lnTo>
                    <a:lnTo>
                      <a:pt x="3898" y="2399"/>
                    </a:lnTo>
                    <a:lnTo>
                      <a:pt x="3973" y="2024"/>
                    </a:lnTo>
                    <a:lnTo>
                      <a:pt x="3898" y="1575"/>
                    </a:lnTo>
                    <a:lnTo>
                      <a:pt x="3823" y="1200"/>
                    </a:lnTo>
                    <a:lnTo>
                      <a:pt x="3598" y="900"/>
                    </a:lnTo>
                    <a:lnTo>
                      <a:pt x="3373" y="600"/>
                    </a:lnTo>
                    <a:lnTo>
                      <a:pt x="3073" y="375"/>
                    </a:lnTo>
                    <a:lnTo>
                      <a:pt x="2774" y="151"/>
                    </a:lnTo>
                    <a:lnTo>
                      <a:pt x="2399" y="76"/>
                    </a:lnTo>
                    <a:lnTo>
                      <a:pt x="2024" y="1"/>
                    </a:lnTo>
                    <a:close/>
                  </a:path>
                </a:pathLst>
              </a:custGeom>
              <a:solidFill>
                <a:sysClr val="window" lastClr="FFFFFF"/>
              </a:solidFill>
              <a:ln>
                <a:solidFill>
                  <a:sysClr val="windowText" lastClr="000000"/>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sp>
            <p:nvSpPr>
              <p:cNvPr id="25" name="Google Shape;2096;p33">
                <a:extLst>
                  <a:ext uri="{FF2B5EF4-FFF2-40B4-BE49-F238E27FC236}">
                    <a16:creationId xmlns:a16="http://schemas.microsoft.com/office/drawing/2014/main" id="{28D04C2C-8D8C-4292-8E51-4585F0B75652}"/>
                  </a:ext>
                </a:extLst>
              </p:cNvPr>
              <p:cNvSpPr/>
              <p:nvPr/>
            </p:nvSpPr>
            <p:spPr>
              <a:xfrm>
                <a:off x="3566400" y="434850"/>
                <a:ext cx="487175" cy="76850"/>
              </a:xfrm>
              <a:custGeom>
                <a:avLst/>
                <a:gdLst/>
                <a:ahLst/>
                <a:cxnLst/>
                <a:rect l="l" t="t" r="r" b="b"/>
                <a:pathLst>
                  <a:path w="19487" h="3074" extrusionOk="0">
                    <a:moveTo>
                      <a:pt x="1275" y="0"/>
                    </a:moveTo>
                    <a:lnTo>
                      <a:pt x="1050" y="75"/>
                    </a:lnTo>
                    <a:lnTo>
                      <a:pt x="750" y="150"/>
                    </a:lnTo>
                    <a:lnTo>
                      <a:pt x="525" y="300"/>
                    </a:lnTo>
                    <a:lnTo>
                      <a:pt x="375" y="450"/>
                    </a:lnTo>
                    <a:lnTo>
                      <a:pt x="225" y="675"/>
                    </a:lnTo>
                    <a:lnTo>
                      <a:pt x="75" y="975"/>
                    </a:lnTo>
                    <a:lnTo>
                      <a:pt x="1" y="1274"/>
                    </a:lnTo>
                    <a:lnTo>
                      <a:pt x="1" y="1574"/>
                    </a:lnTo>
                    <a:lnTo>
                      <a:pt x="1" y="1874"/>
                    </a:lnTo>
                    <a:lnTo>
                      <a:pt x="75" y="2174"/>
                    </a:lnTo>
                    <a:lnTo>
                      <a:pt x="225" y="2399"/>
                    </a:lnTo>
                    <a:lnTo>
                      <a:pt x="375" y="2623"/>
                    </a:lnTo>
                    <a:lnTo>
                      <a:pt x="525" y="2773"/>
                    </a:lnTo>
                    <a:lnTo>
                      <a:pt x="750" y="2923"/>
                    </a:lnTo>
                    <a:lnTo>
                      <a:pt x="1050" y="2998"/>
                    </a:lnTo>
                    <a:lnTo>
                      <a:pt x="1275" y="3073"/>
                    </a:lnTo>
                    <a:lnTo>
                      <a:pt x="18137" y="3073"/>
                    </a:lnTo>
                    <a:lnTo>
                      <a:pt x="18437" y="2998"/>
                    </a:lnTo>
                    <a:lnTo>
                      <a:pt x="18662" y="2923"/>
                    </a:lnTo>
                    <a:lnTo>
                      <a:pt x="18887" y="2773"/>
                    </a:lnTo>
                    <a:lnTo>
                      <a:pt x="19112" y="2623"/>
                    </a:lnTo>
                    <a:lnTo>
                      <a:pt x="19262" y="2399"/>
                    </a:lnTo>
                    <a:lnTo>
                      <a:pt x="19337" y="2174"/>
                    </a:lnTo>
                    <a:lnTo>
                      <a:pt x="19412" y="1874"/>
                    </a:lnTo>
                    <a:lnTo>
                      <a:pt x="19486" y="1574"/>
                    </a:lnTo>
                    <a:lnTo>
                      <a:pt x="19412" y="1274"/>
                    </a:lnTo>
                    <a:lnTo>
                      <a:pt x="19337" y="975"/>
                    </a:lnTo>
                    <a:lnTo>
                      <a:pt x="19262" y="675"/>
                    </a:lnTo>
                    <a:lnTo>
                      <a:pt x="19112" y="450"/>
                    </a:lnTo>
                    <a:lnTo>
                      <a:pt x="18887" y="300"/>
                    </a:lnTo>
                    <a:lnTo>
                      <a:pt x="18662" y="150"/>
                    </a:lnTo>
                    <a:lnTo>
                      <a:pt x="18437" y="75"/>
                    </a:lnTo>
                    <a:lnTo>
                      <a:pt x="18137" y="0"/>
                    </a:lnTo>
                    <a:close/>
                  </a:path>
                </a:pathLst>
              </a:custGeom>
              <a:solidFill>
                <a:sysClr val="window" lastClr="FFFFFF"/>
              </a:solidFill>
              <a:ln>
                <a:solidFill>
                  <a:sysClr val="windowText" lastClr="000000"/>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grpSp>
        <p:sp>
          <p:nvSpPr>
            <p:cNvPr id="10" name="Rectangle 9">
              <a:extLst>
                <a:ext uri="{FF2B5EF4-FFF2-40B4-BE49-F238E27FC236}">
                  <a16:creationId xmlns:a16="http://schemas.microsoft.com/office/drawing/2014/main" id="{A7B3449D-3DFD-4B9F-9ECE-AA29E382FCFB}"/>
                </a:ext>
              </a:extLst>
            </p:cNvPr>
            <p:cNvSpPr/>
            <p:nvPr/>
          </p:nvSpPr>
          <p:spPr>
            <a:xfrm>
              <a:off x="2743200" y="3644900"/>
              <a:ext cx="850900" cy="228600"/>
            </a:xfrm>
            <a:prstGeom prst="rect">
              <a:avLst/>
            </a:prstGeom>
            <a:solidFill>
              <a:srgbClr val="F8F8F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rgbClr val="FFFFFF"/>
                </a:solidFill>
              </a:endParaRPr>
            </a:p>
          </p:txBody>
        </p:sp>
      </p:grpSp>
      <p:grpSp>
        <p:nvGrpSpPr>
          <p:cNvPr id="27" name="Group 26">
            <a:extLst>
              <a:ext uri="{FF2B5EF4-FFF2-40B4-BE49-F238E27FC236}">
                <a16:creationId xmlns:a16="http://schemas.microsoft.com/office/drawing/2014/main" id="{F996BBFD-1FE4-4C07-BDC6-18ABF9A8D6DE}"/>
              </a:ext>
            </a:extLst>
          </p:cNvPr>
          <p:cNvGrpSpPr/>
          <p:nvPr/>
        </p:nvGrpSpPr>
        <p:grpSpPr>
          <a:xfrm>
            <a:off x="8026400" y="1264098"/>
            <a:ext cx="3901455" cy="4951016"/>
            <a:chOff x="6489700" y="1264098"/>
            <a:chExt cx="3901455" cy="4951016"/>
          </a:xfrm>
        </p:grpSpPr>
        <p:pic>
          <p:nvPicPr>
            <p:cNvPr id="44" name="Picture 43">
              <a:extLst>
                <a:ext uri="{FF2B5EF4-FFF2-40B4-BE49-F238E27FC236}">
                  <a16:creationId xmlns:a16="http://schemas.microsoft.com/office/drawing/2014/main" id="{F908E513-A1D7-4EBB-8A83-1A9ED7038E6D}"/>
                </a:ext>
              </a:extLst>
            </p:cNvPr>
            <p:cNvPicPr>
              <a:picLocks noChangeAspect="1"/>
            </p:cNvPicPr>
            <p:nvPr/>
          </p:nvPicPr>
          <p:blipFill rotWithShape="1">
            <a:blip r:embed="rId4"/>
            <a:srcRect b="9831"/>
            <a:stretch/>
          </p:blipFill>
          <p:spPr>
            <a:xfrm>
              <a:off x="7877710" y="1683992"/>
              <a:ext cx="2496756" cy="4311821"/>
            </a:xfrm>
            <a:prstGeom prst="rect">
              <a:avLst/>
            </a:prstGeom>
          </p:spPr>
        </p:pic>
        <p:grpSp>
          <p:nvGrpSpPr>
            <p:cNvPr id="45" name="Google Shape;2092;p33">
              <a:extLst>
                <a:ext uri="{FF2B5EF4-FFF2-40B4-BE49-F238E27FC236}">
                  <a16:creationId xmlns:a16="http://schemas.microsoft.com/office/drawing/2014/main" id="{3FE066A5-F913-4A41-A8EC-C02AD0611BAA}"/>
                </a:ext>
              </a:extLst>
            </p:cNvPr>
            <p:cNvGrpSpPr/>
            <p:nvPr/>
          </p:nvGrpSpPr>
          <p:grpSpPr>
            <a:xfrm>
              <a:off x="7830166" y="1264098"/>
              <a:ext cx="2560989" cy="4951016"/>
              <a:chOff x="2547150" y="238125"/>
              <a:chExt cx="2525675" cy="5238750"/>
            </a:xfrm>
          </p:grpSpPr>
          <p:sp>
            <p:nvSpPr>
              <p:cNvPr id="46" name="Google Shape;2093;p33">
                <a:extLst>
                  <a:ext uri="{FF2B5EF4-FFF2-40B4-BE49-F238E27FC236}">
                    <a16:creationId xmlns:a16="http://schemas.microsoft.com/office/drawing/2014/main" id="{1ABD919D-8CBC-43D0-BC0C-790F3FCC4728}"/>
                  </a:ext>
                </a:extLst>
              </p:cNvPr>
              <p:cNvSpPr/>
              <p:nvPr/>
            </p:nvSpPr>
            <p:spPr>
              <a:xfrm>
                <a:off x="2547150" y="238125"/>
                <a:ext cx="2525675" cy="5238750"/>
              </a:xfrm>
              <a:custGeom>
                <a:avLst/>
                <a:gdLst/>
                <a:ahLst/>
                <a:cxnLst/>
                <a:rect l="l" t="t" r="r" b="b"/>
                <a:pathLst>
                  <a:path w="101027" h="209550" extrusionOk="0">
                    <a:moveTo>
                      <a:pt x="98629" y="18886"/>
                    </a:moveTo>
                    <a:lnTo>
                      <a:pt x="98629" y="190364"/>
                    </a:lnTo>
                    <a:lnTo>
                      <a:pt x="2398" y="190364"/>
                    </a:lnTo>
                    <a:lnTo>
                      <a:pt x="2398" y="18886"/>
                    </a:lnTo>
                    <a:close/>
                    <a:moveTo>
                      <a:pt x="10343" y="0"/>
                    </a:moveTo>
                    <a:lnTo>
                      <a:pt x="9293" y="75"/>
                    </a:lnTo>
                    <a:lnTo>
                      <a:pt x="8244" y="225"/>
                    </a:lnTo>
                    <a:lnTo>
                      <a:pt x="7270" y="450"/>
                    </a:lnTo>
                    <a:lnTo>
                      <a:pt x="6295" y="824"/>
                    </a:lnTo>
                    <a:lnTo>
                      <a:pt x="5396" y="1274"/>
                    </a:lnTo>
                    <a:lnTo>
                      <a:pt x="4572" y="1799"/>
                    </a:lnTo>
                    <a:lnTo>
                      <a:pt x="3747" y="2398"/>
                    </a:lnTo>
                    <a:lnTo>
                      <a:pt x="2998" y="3073"/>
                    </a:lnTo>
                    <a:lnTo>
                      <a:pt x="2323" y="3747"/>
                    </a:lnTo>
                    <a:lnTo>
                      <a:pt x="1724" y="4572"/>
                    </a:lnTo>
                    <a:lnTo>
                      <a:pt x="1199" y="5396"/>
                    </a:lnTo>
                    <a:lnTo>
                      <a:pt x="824" y="6370"/>
                    </a:lnTo>
                    <a:lnTo>
                      <a:pt x="450" y="7270"/>
                    </a:lnTo>
                    <a:lnTo>
                      <a:pt x="225" y="8319"/>
                    </a:lnTo>
                    <a:lnTo>
                      <a:pt x="0" y="9293"/>
                    </a:lnTo>
                    <a:lnTo>
                      <a:pt x="0" y="10343"/>
                    </a:lnTo>
                    <a:lnTo>
                      <a:pt x="0" y="199207"/>
                    </a:lnTo>
                    <a:lnTo>
                      <a:pt x="0" y="200257"/>
                    </a:lnTo>
                    <a:lnTo>
                      <a:pt x="225" y="201231"/>
                    </a:lnTo>
                    <a:lnTo>
                      <a:pt x="450" y="202280"/>
                    </a:lnTo>
                    <a:lnTo>
                      <a:pt x="824" y="203180"/>
                    </a:lnTo>
                    <a:lnTo>
                      <a:pt x="1199" y="204154"/>
                    </a:lnTo>
                    <a:lnTo>
                      <a:pt x="1724" y="204978"/>
                    </a:lnTo>
                    <a:lnTo>
                      <a:pt x="2323" y="205803"/>
                    </a:lnTo>
                    <a:lnTo>
                      <a:pt x="2998" y="206477"/>
                    </a:lnTo>
                    <a:lnTo>
                      <a:pt x="3747" y="207152"/>
                    </a:lnTo>
                    <a:lnTo>
                      <a:pt x="4572" y="207751"/>
                    </a:lnTo>
                    <a:lnTo>
                      <a:pt x="5396" y="208276"/>
                    </a:lnTo>
                    <a:lnTo>
                      <a:pt x="6295" y="208726"/>
                    </a:lnTo>
                    <a:lnTo>
                      <a:pt x="7270" y="209100"/>
                    </a:lnTo>
                    <a:lnTo>
                      <a:pt x="8244" y="209325"/>
                    </a:lnTo>
                    <a:lnTo>
                      <a:pt x="9293" y="209475"/>
                    </a:lnTo>
                    <a:lnTo>
                      <a:pt x="10343" y="209550"/>
                    </a:lnTo>
                    <a:lnTo>
                      <a:pt x="90610" y="209550"/>
                    </a:lnTo>
                    <a:lnTo>
                      <a:pt x="91659" y="209475"/>
                    </a:lnTo>
                    <a:lnTo>
                      <a:pt x="92708" y="209325"/>
                    </a:lnTo>
                    <a:lnTo>
                      <a:pt x="93682" y="209100"/>
                    </a:lnTo>
                    <a:lnTo>
                      <a:pt x="94657" y="208726"/>
                    </a:lnTo>
                    <a:lnTo>
                      <a:pt x="95556" y="208276"/>
                    </a:lnTo>
                    <a:lnTo>
                      <a:pt x="96455" y="207751"/>
                    </a:lnTo>
                    <a:lnTo>
                      <a:pt x="97205" y="207152"/>
                    </a:lnTo>
                    <a:lnTo>
                      <a:pt x="97954" y="206477"/>
                    </a:lnTo>
                    <a:lnTo>
                      <a:pt x="98629" y="205803"/>
                    </a:lnTo>
                    <a:lnTo>
                      <a:pt x="99228" y="204978"/>
                    </a:lnTo>
                    <a:lnTo>
                      <a:pt x="99753" y="204154"/>
                    </a:lnTo>
                    <a:lnTo>
                      <a:pt x="100203" y="203180"/>
                    </a:lnTo>
                    <a:lnTo>
                      <a:pt x="100577" y="202280"/>
                    </a:lnTo>
                    <a:lnTo>
                      <a:pt x="100802" y="201231"/>
                    </a:lnTo>
                    <a:lnTo>
                      <a:pt x="100952" y="200257"/>
                    </a:lnTo>
                    <a:lnTo>
                      <a:pt x="101027" y="199207"/>
                    </a:lnTo>
                    <a:lnTo>
                      <a:pt x="101027" y="10343"/>
                    </a:lnTo>
                    <a:lnTo>
                      <a:pt x="100952" y="9293"/>
                    </a:lnTo>
                    <a:lnTo>
                      <a:pt x="100802" y="8319"/>
                    </a:lnTo>
                    <a:lnTo>
                      <a:pt x="100577" y="7270"/>
                    </a:lnTo>
                    <a:lnTo>
                      <a:pt x="100203" y="6370"/>
                    </a:lnTo>
                    <a:lnTo>
                      <a:pt x="99753" y="5396"/>
                    </a:lnTo>
                    <a:lnTo>
                      <a:pt x="99228" y="4572"/>
                    </a:lnTo>
                    <a:lnTo>
                      <a:pt x="98629" y="3747"/>
                    </a:lnTo>
                    <a:lnTo>
                      <a:pt x="97954" y="3073"/>
                    </a:lnTo>
                    <a:lnTo>
                      <a:pt x="97205" y="2398"/>
                    </a:lnTo>
                    <a:lnTo>
                      <a:pt x="96455" y="1799"/>
                    </a:lnTo>
                    <a:lnTo>
                      <a:pt x="95556" y="1274"/>
                    </a:lnTo>
                    <a:lnTo>
                      <a:pt x="94657" y="824"/>
                    </a:lnTo>
                    <a:lnTo>
                      <a:pt x="93682" y="450"/>
                    </a:lnTo>
                    <a:lnTo>
                      <a:pt x="92708" y="225"/>
                    </a:lnTo>
                    <a:lnTo>
                      <a:pt x="91659" y="75"/>
                    </a:lnTo>
                    <a:lnTo>
                      <a:pt x="90610" y="0"/>
                    </a:lnTo>
                    <a:close/>
                  </a:path>
                </a:pathLst>
              </a:custGeom>
              <a:solidFill>
                <a:sysClr val="windowText" lastClr="000000"/>
              </a:solidFill>
              <a:ln w="19050" cap="flat" cmpd="sng">
                <a:solidFill>
                  <a:sysClr val="windowText" lastClr="000000"/>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sp>
            <p:nvSpPr>
              <p:cNvPr id="47" name="Google Shape;2094;p33">
                <a:extLst>
                  <a:ext uri="{FF2B5EF4-FFF2-40B4-BE49-F238E27FC236}">
                    <a16:creationId xmlns:a16="http://schemas.microsoft.com/office/drawing/2014/main" id="{358FFD7A-4833-4712-8EFC-1E6A94FC44AE}"/>
                  </a:ext>
                </a:extLst>
              </p:cNvPr>
              <p:cNvSpPr/>
              <p:nvPr/>
            </p:nvSpPr>
            <p:spPr>
              <a:xfrm>
                <a:off x="3557025" y="5147100"/>
                <a:ext cx="504050" cy="179900"/>
              </a:xfrm>
              <a:custGeom>
                <a:avLst/>
                <a:gdLst/>
                <a:ahLst/>
                <a:cxnLst/>
                <a:rect l="l" t="t" r="r" b="b"/>
                <a:pathLst>
                  <a:path w="20162" h="7196" extrusionOk="0">
                    <a:moveTo>
                      <a:pt x="3598" y="0"/>
                    </a:moveTo>
                    <a:lnTo>
                      <a:pt x="2849" y="75"/>
                    </a:lnTo>
                    <a:lnTo>
                      <a:pt x="2174" y="300"/>
                    </a:lnTo>
                    <a:lnTo>
                      <a:pt x="1575" y="600"/>
                    </a:lnTo>
                    <a:lnTo>
                      <a:pt x="1050" y="1050"/>
                    </a:lnTo>
                    <a:lnTo>
                      <a:pt x="600" y="1574"/>
                    </a:lnTo>
                    <a:lnTo>
                      <a:pt x="301" y="2174"/>
                    </a:lnTo>
                    <a:lnTo>
                      <a:pt x="76" y="2848"/>
                    </a:lnTo>
                    <a:lnTo>
                      <a:pt x="1" y="3598"/>
                    </a:lnTo>
                    <a:lnTo>
                      <a:pt x="76" y="4347"/>
                    </a:lnTo>
                    <a:lnTo>
                      <a:pt x="301" y="5022"/>
                    </a:lnTo>
                    <a:lnTo>
                      <a:pt x="600" y="5621"/>
                    </a:lnTo>
                    <a:lnTo>
                      <a:pt x="1050" y="6146"/>
                    </a:lnTo>
                    <a:lnTo>
                      <a:pt x="1575" y="6596"/>
                    </a:lnTo>
                    <a:lnTo>
                      <a:pt x="2174" y="6896"/>
                    </a:lnTo>
                    <a:lnTo>
                      <a:pt x="2849" y="7120"/>
                    </a:lnTo>
                    <a:lnTo>
                      <a:pt x="3598" y="7195"/>
                    </a:lnTo>
                    <a:lnTo>
                      <a:pt x="16639" y="7195"/>
                    </a:lnTo>
                    <a:lnTo>
                      <a:pt x="17313" y="7120"/>
                    </a:lnTo>
                    <a:lnTo>
                      <a:pt x="17988" y="6896"/>
                    </a:lnTo>
                    <a:lnTo>
                      <a:pt x="18587" y="6596"/>
                    </a:lnTo>
                    <a:lnTo>
                      <a:pt x="19112" y="6146"/>
                    </a:lnTo>
                    <a:lnTo>
                      <a:pt x="19562" y="5621"/>
                    </a:lnTo>
                    <a:lnTo>
                      <a:pt x="19861" y="5022"/>
                    </a:lnTo>
                    <a:lnTo>
                      <a:pt x="20086" y="4347"/>
                    </a:lnTo>
                    <a:lnTo>
                      <a:pt x="20161" y="3598"/>
                    </a:lnTo>
                    <a:lnTo>
                      <a:pt x="20086" y="2848"/>
                    </a:lnTo>
                    <a:lnTo>
                      <a:pt x="19861" y="2174"/>
                    </a:lnTo>
                    <a:lnTo>
                      <a:pt x="19562" y="1574"/>
                    </a:lnTo>
                    <a:lnTo>
                      <a:pt x="19112" y="1050"/>
                    </a:lnTo>
                    <a:lnTo>
                      <a:pt x="18587" y="600"/>
                    </a:lnTo>
                    <a:lnTo>
                      <a:pt x="17988" y="300"/>
                    </a:lnTo>
                    <a:lnTo>
                      <a:pt x="17313" y="75"/>
                    </a:lnTo>
                    <a:lnTo>
                      <a:pt x="16639" y="0"/>
                    </a:lnTo>
                    <a:close/>
                  </a:path>
                </a:pathLst>
              </a:custGeom>
              <a:solidFill>
                <a:sysClr val="window" lastClr="FFFFFF"/>
              </a:solidFill>
              <a:ln>
                <a:solidFill>
                  <a:sysClr val="windowText" lastClr="000000"/>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sp>
            <p:nvSpPr>
              <p:cNvPr id="48" name="Google Shape;2095;p33">
                <a:extLst>
                  <a:ext uri="{FF2B5EF4-FFF2-40B4-BE49-F238E27FC236}">
                    <a16:creationId xmlns:a16="http://schemas.microsoft.com/office/drawing/2014/main" id="{ECC44292-7631-4D43-B120-20931186BD9C}"/>
                  </a:ext>
                </a:extLst>
              </p:cNvPr>
              <p:cNvSpPr/>
              <p:nvPr/>
            </p:nvSpPr>
            <p:spPr>
              <a:xfrm>
                <a:off x="3008050" y="423600"/>
                <a:ext cx="99325" cy="99325"/>
              </a:xfrm>
              <a:custGeom>
                <a:avLst/>
                <a:gdLst/>
                <a:ahLst/>
                <a:cxnLst/>
                <a:rect l="l" t="t" r="r" b="b"/>
                <a:pathLst>
                  <a:path w="3973" h="3973" extrusionOk="0">
                    <a:moveTo>
                      <a:pt x="2024" y="1"/>
                    </a:moveTo>
                    <a:lnTo>
                      <a:pt x="1575" y="76"/>
                    </a:lnTo>
                    <a:lnTo>
                      <a:pt x="1200" y="151"/>
                    </a:lnTo>
                    <a:lnTo>
                      <a:pt x="900" y="375"/>
                    </a:lnTo>
                    <a:lnTo>
                      <a:pt x="600" y="600"/>
                    </a:lnTo>
                    <a:lnTo>
                      <a:pt x="375" y="900"/>
                    </a:lnTo>
                    <a:lnTo>
                      <a:pt x="151" y="1200"/>
                    </a:lnTo>
                    <a:lnTo>
                      <a:pt x="76" y="1575"/>
                    </a:lnTo>
                    <a:lnTo>
                      <a:pt x="1" y="2024"/>
                    </a:lnTo>
                    <a:lnTo>
                      <a:pt x="76" y="2399"/>
                    </a:lnTo>
                    <a:lnTo>
                      <a:pt x="151" y="2774"/>
                    </a:lnTo>
                    <a:lnTo>
                      <a:pt x="375" y="3073"/>
                    </a:lnTo>
                    <a:lnTo>
                      <a:pt x="600" y="3373"/>
                    </a:lnTo>
                    <a:lnTo>
                      <a:pt x="900" y="3673"/>
                    </a:lnTo>
                    <a:lnTo>
                      <a:pt x="1200" y="3823"/>
                    </a:lnTo>
                    <a:lnTo>
                      <a:pt x="1575" y="3973"/>
                    </a:lnTo>
                    <a:lnTo>
                      <a:pt x="2399" y="3973"/>
                    </a:lnTo>
                    <a:lnTo>
                      <a:pt x="2774" y="3823"/>
                    </a:lnTo>
                    <a:lnTo>
                      <a:pt x="3073" y="3673"/>
                    </a:lnTo>
                    <a:lnTo>
                      <a:pt x="3373" y="3373"/>
                    </a:lnTo>
                    <a:lnTo>
                      <a:pt x="3598" y="3073"/>
                    </a:lnTo>
                    <a:lnTo>
                      <a:pt x="3823" y="2774"/>
                    </a:lnTo>
                    <a:lnTo>
                      <a:pt x="3898" y="2399"/>
                    </a:lnTo>
                    <a:lnTo>
                      <a:pt x="3973" y="2024"/>
                    </a:lnTo>
                    <a:lnTo>
                      <a:pt x="3898" y="1575"/>
                    </a:lnTo>
                    <a:lnTo>
                      <a:pt x="3823" y="1200"/>
                    </a:lnTo>
                    <a:lnTo>
                      <a:pt x="3598" y="900"/>
                    </a:lnTo>
                    <a:lnTo>
                      <a:pt x="3373" y="600"/>
                    </a:lnTo>
                    <a:lnTo>
                      <a:pt x="3073" y="375"/>
                    </a:lnTo>
                    <a:lnTo>
                      <a:pt x="2774" y="151"/>
                    </a:lnTo>
                    <a:lnTo>
                      <a:pt x="2399" y="76"/>
                    </a:lnTo>
                    <a:lnTo>
                      <a:pt x="2024" y="1"/>
                    </a:lnTo>
                    <a:close/>
                  </a:path>
                </a:pathLst>
              </a:custGeom>
              <a:solidFill>
                <a:sysClr val="window" lastClr="FFFFFF"/>
              </a:solidFill>
              <a:ln>
                <a:solidFill>
                  <a:sysClr val="windowText" lastClr="000000"/>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sp>
            <p:nvSpPr>
              <p:cNvPr id="49" name="Google Shape;2096;p33">
                <a:extLst>
                  <a:ext uri="{FF2B5EF4-FFF2-40B4-BE49-F238E27FC236}">
                    <a16:creationId xmlns:a16="http://schemas.microsoft.com/office/drawing/2014/main" id="{3D1C1301-645E-4CFB-81C3-0AC806A907ED}"/>
                  </a:ext>
                </a:extLst>
              </p:cNvPr>
              <p:cNvSpPr/>
              <p:nvPr/>
            </p:nvSpPr>
            <p:spPr>
              <a:xfrm>
                <a:off x="3566400" y="434850"/>
                <a:ext cx="487175" cy="76850"/>
              </a:xfrm>
              <a:custGeom>
                <a:avLst/>
                <a:gdLst/>
                <a:ahLst/>
                <a:cxnLst/>
                <a:rect l="l" t="t" r="r" b="b"/>
                <a:pathLst>
                  <a:path w="19487" h="3074" extrusionOk="0">
                    <a:moveTo>
                      <a:pt x="1275" y="0"/>
                    </a:moveTo>
                    <a:lnTo>
                      <a:pt x="1050" y="75"/>
                    </a:lnTo>
                    <a:lnTo>
                      <a:pt x="750" y="150"/>
                    </a:lnTo>
                    <a:lnTo>
                      <a:pt x="525" y="300"/>
                    </a:lnTo>
                    <a:lnTo>
                      <a:pt x="375" y="450"/>
                    </a:lnTo>
                    <a:lnTo>
                      <a:pt x="225" y="675"/>
                    </a:lnTo>
                    <a:lnTo>
                      <a:pt x="75" y="975"/>
                    </a:lnTo>
                    <a:lnTo>
                      <a:pt x="1" y="1274"/>
                    </a:lnTo>
                    <a:lnTo>
                      <a:pt x="1" y="1574"/>
                    </a:lnTo>
                    <a:lnTo>
                      <a:pt x="1" y="1874"/>
                    </a:lnTo>
                    <a:lnTo>
                      <a:pt x="75" y="2174"/>
                    </a:lnTo>
                    <a:lnTo>
                      <a:pt x="225" y="2399"/>
                    </a:lnTo>
                    <a:lnTo>
                      <a:pt x="375" y="2623"/>
                    </a:lnTo>
                    <a:lnTo>
                      <a:pt x="525" y="2773"/>
                    </a:lnTo>
                    <a:lnTo>
                      <a:pt x="750" y="2923"/>
                    </a:lnTo>
                    <a:lnTo>
                      <a:pt x="1050" y="2998"/>
                    </a:lnTo>
                    <a:lnTo>
                      <a:pt x="1275" y="3073"/>
                    </a:lnTo>
                    <a:lnTo>
                      <a:pt x="18137" y="3073"/>
                    </a:lnTo>
                    <a:lnTo>
                      <a:pt x="18437" y="2998"/>
                    </a:lnTo>
                    <a:lnTo>
                      <a:pt x="18662" y="2923"/>
                    </a:lnTo>
                    <a:lnTo>
                      <a:pt x="18887" y="2773"/>
                    </a:lnTo>
                    <a:lnTo>
                      <a:pt x="19112" y="2623"/>
                    </a:lnTo>
                    <a:lnTo>
                      <a:pt x="19262" y="2399"/>
                    </a:lnTo>
                    <a:lnTo>
                      <a:pt x="19337" y="2174"/>
                    </a:lnTo>
                    <a:lnTo>
                      <a:pt x="19412" y="1874"/>
                    </a:lnTo>
                    <a:lnTo>
                      <a:pt x="19486" y="1574"/>
                    </a:lnTo>
                    <a:lnTo>
                      <a:pt x="19412" y="1274"/>
                    </a:lnTo>
                    <a:lnTo>
                      <a:pt x="19337" y="975"/>
                    </a:lnTo>
                    <a:lnTo>
                      <a:pt x="19262" y="675"/>
                    </a:lnTo>
                    <a:lnTo>
                      <a:pt x="19112" y="450"/>
                    </a:lnTo>
                    <a:lnTo>
                      <a:pt x="18887" y="300"/>
                    </a:lnTo>
                    <a:lnTo>
                      <a:pt x="18662" y="150"/>
                    </a:lnTo>
                    <a:lnTo>
                      <a:pt x="18437" y="75"/>
                    </a:lnTo>
                    <a:lnTo>
                      <a:pt x="18137" y="0"/>
                    </a:lnTo>
                    <a:close/>
                  </a:path>
                </a:pathLst>
              </a:custGeom>
              <a:solidFill>
                <a:sysClr val="window" lastClr="FFFFFF"/>
              </a:solidFill>
              <a:ln>
                <a:solidFill>
                  <a:sysClr val="windowText" lastClr="000000"/>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grpSp>
        <p:sp>
          <p:nvSpPr>
            <p:cNvPr id="54" name="Rectangle 53">
              <a:extLst>
                <a:ext uri="{FF2B5EF4-FFF2-40B4-BE49-F238E27FC236}">
                  <a16:creationId xmlns:a16="http://schemas.microsoft.com/office/drawing/2014/main" id="{BD1AC4C7-7FD6-4DF2-8B42-FC14F2FAF93F}"/>
                </a:ext>
              </a:extLst>
            </p:cNvPr>
            <p:cNvSpPr/>
            <p:nvPr/>
          </p:nvSpPr>
          <p:spPr>
            <a:xfrm>
              <a:off x="7852723" y="1985844"/>
              <a:ext cx="2496755" cy="1443155"/>
            </a:xfrm>
            <a:prstGeom prst="rect">
              <a:avLst/>
            </a:prstGeom>
            <a:noFill/>
            <a:ln w="38100" cap="flat" cmpd="sng" algn="ctr">
              <a:solidFill>
                <a:srgbClr val="C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55" name="TextBox 54">
              <a:extLst>
                <a:ext uri="{FF2B5EF4-FFF2-40B4-BE49-F238E27FC236}">
                  <a16:creationId xmlns:a16="http://schemas.microsoft.com/office/drawing/2014/main" id="{600F2051-ABC0-4F98-B263-51A5DCB227C4}"/>
                </a:ext>
              </a:extLst>
            </p:cNvPr>
            <p:cNvSpPr txBox="1"/>
            <p:nvPr/>
          </p:nvSpPr>
          <p:spPr>
            <a:xfrm>
              <a:off x="6489700" y="2230367"/>
              <a:ext cx="1363023" cy="954107"/>
            </a:xfrm>
            <a:prstGeom prst="rightArrowCallout">
              <a:avLst>
                <a:gd name="adj1" fmla="val 30324"/>
                <a:gd name="adj2" fmla="val 25000"/>
                <a:gd name="adj3" fmla="val 25000"/>
                <a:gd name="adj4" fmla="val 76284"/>
              </a:avLst>
            </a:prstGeom>
            <a:solidFill>
              <a:srgbClr val="F8F8F8"/>
            </a:solidFill>
            <a:ln>
              <a:solidFill>
                <a:srgbClr val="37373A"/>
              </a:solidFill>
            </a:ln>
          </p:spPr>
          <p:txBody>
            <a:bodyPr wrap="square" rtlCol="0">
              <a:spAutoFit/>
            </a:bodyPr>
            <a:lstStyle>
              <a:defPPr marR="0" lvl="0" algn="l" rtl="0">
                <a:lnSpc>
                  <a:spcPct val="100000"/>
                </a:lnSpc>
                <a:spcBef>
                  <a:spcPts val="0"/>
                </a:spcBef>
                <a:spcAft>
                  <a:spcPts val="0"/>
                </a:spcAft>
                <a:defRPr/>
              </a:defPPr>
              <a:lvl1pPr algn="ctr">
                <a:defRPr sz="900" b="1">
                  <a:solidFill>
                    <a:schemeClr val="bg1"/>
                  </a:solidFill>
                </a:defRPr>
              </a:lvl1p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A4E1"/>
                  </a:solidFill>
                  <a:effectLst/>
                  <a:uLnTx/>
                  <a:uFillTx/>
                  <a:cs typeface="Arial"/>
                  <a:sym typeface="Arial"/>
                </a:rPr>
                <a:t>Access learning materials here</a:t>
              </a:r>
            </a:p>
          </p:txBody>
        </p:sp>
        <p:sp>
          <p:nvSpPr>
            <p:cNvPr id="56" name="Rectangle 55">
              <a:extLst>
                <a:ext uri="{FF2B5EF4-FFF2-40B4-BE49-F238E27FC236}">
                  <a16:creationId xmlns:a16="http://schemas.microsoft.com/office/drawing/2014/main" id="{9F03FC0F-364C-4499-99DE-8ED5ADBB89DF}"/>
                </a:ext>
              </a:extLst>
            </p:cNvPr>
            <p:cNvSpPr/>
            <p:nvPr/>
          </p:nvSpPr>
          <p:spPr>
            <a:xfrm>
              <a:off x="7859510" y="3432491"/>
              <a:ext cx="2496756" cy="2329318"/>
            </a:xfrm>
            <a:prstGeom prst="rect">
              <a:avLst/>
            </a:prstGeom>
            <a:noFill/>
            <a:ln w="38100" cap="flat" cmpd="sng" algn="ctr">
              <a:solidFill>
                <a:srgbClr val="C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57" name="TextBox 56">
              <a:extLst>
                <a:ext uri="{FF2B5EF4-FFF2-40B4-BE49-F238E27FC236}">
                  <a16:creationId xmlns:a16="http://schemas.microsoft.com/office/drawing/2014/main" id="{AC0F1A24-9D3A-4301-9D5F-443C74BE4803}"/>
                </a:ext>
              </a:extLst>
            </p:cNvPr>
            <p:cNvSpPr txBox="1"/>
            <p:nvPr/>
          </p:nvSpPr>
          <p:spPr>
            <a:xfrm>
              <a:off x="6489701" y="3862407"/>
              <a:ext cx="1346038" cy="738664"/>
            </a:xfrm>
            <a:prstGeom prst="rightArrowCallout">
              <a:avLst>
                <a:gd name="adj1" fmla="val 25000"/>
                <a:gd name="adj2" fmla="val 25000"/>
                <a:gd name="adj3" fmla="val 25000"/>
                <a:gd name="adj4" fmla="val 78819"/>
              </a:avLst>
            </a:prstGeom>
            <a:solidFill>
              <a:srgbClr val="F8F8F8"/>
            </a:solidFill>
            <a:ln>
              <a:solidFill>
                <a:srgbClr val="37373A"/>
              </a:solidFill>
            </a:ln>
          </p:spPr>
          <p:txBody>
            <a:bodyPr wrap="square" rtlCol="0">
              <a:spAutoFit/>
            </a:bodyPr>
            <a:lstStyle>
              <a:defPPr marR="0" lvl="0" algn="l" rtl="0">
                <a:lnSpc>
                  <a:spcPct val="100000"/>
                </a:lnSpc>
                <a:spcBef>
                  <a:spcPts val="0"/>
                </a:spcBef>
                <a:spcAft>
                  <a:spcPts val="0"/>
                </a:spcAft>
                <a:defRPr/>
              </a:defPPr>
              <a:lvl1pPr algn="ctr">
                <a:defRPr sz="900" b="1">
                  <a:solidFill>
                    <a:schemeClr val="bg1"/>
                  </a:solidFill>
                </a:defRPr>
              </a:lvl1p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A4E1"/>
                  </a:solidFill>
                  <a:effectLst/>
                  <a:uLnTx/>
                  <a:uFillTx/>
                  <a:cs typeface="Arial"/>
                  <a:sym typeface="Arial"/>
                </a:rPr>
                <a:t>See all your lessons</a:t>
              </a:r>
            </a:p>
          </p:txBody>
        </p:sp>
      </p:grpSp>
      <p:pic>
        <p:nvPicPr>
          <p:cNvPr id="71" name="Picture 70">
            <a:extLst>
              <a:ext uri="{FF2B5EF4-FFF2-40B4-BE49-F238E27FC236}">
                <a16:creationId xmlns:a16="http://schemas.microsoft.com/office/drawing/2014/main" id="{5CE9F40A-2C6C-46A4-A492-28FD851423AA}"/>
              </a:ext>
            </a:extLst>
          </p:cNvPr>
          <p:cNvPicPr>
            <a:picLocks noChangeAspect="1"/>
          </p:cNvPicPr>
          <p:nvPr/>
        </p:nvPicPr>
        <p:blipFill rotWithShape="1">
          <a:blip r:embed="rId5"/>
          <a:srcRect b="7682"/>
          <a:stretch/>
        </p:blipFill>
        <p:spPr>
          <a:xfrm>
            <a:off x="4949773" y="1683992"/>
            <a:ext cx="2496756" cy="4365943"/>
          </a:xfrm>
          <a:prstGeom prst="rect">
            <a:avLst/>
          </a:prstGeom>
        </p:spPr>
      </p:pic>
      <p:sp>
        <p:nvSpPr>
          <p:cNvPr id="78" name="Rectangle 77">
            <a:extLst>
              <a:ext uri="{FF2B5EF4-FFF2-40B4-BE49-F238E27FC236}">
                <a16:creationId xmlns:a16="http://schemas.microsoft.com/office/drawing/2014/main" id="{C1BF9055-807D-41D2-8EE0-B1C1D8C98CCF}"/>
              </a:ext>
            </a:extLst>
          </p:cNvPr>
          <p:cNvSpPr/>
          <p:nvPr/>
        </p:nvSpPr>
        <p:spPr>
          <a:xfrm>
            <a:off x="5017605" y="2279126"/>
            <a:ext cx="2335695" cy="3473591"/>
          </a:xfrm>
          <a:prstGeom prst="rect">
            <a:avLst/>
          </a:prstGeom>
          <a:noFill/>
          <a:ln w="38100" cap="flat" cmpd="sng" algn="ctr">
            <a:solidFill>
              <a:srgbClr val="C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79" name="TextBox 78">
            <a:extLst>
              <a:ext uri="{FF2B5EF4-FFF2-40B4-BE49-F238E27FC236}">
                <a16:creationId xmlns:a16="http://schemas.microsoft.com/office/drawing/2014/main" id="{341C0B61-FA90-4FC5-AD08-3D4D8244D981}"/>
              </a:ext>
            </a:extLst>
          </p:cNvPr>
          <p:cNvSpPr txBox="1"/>
          <p:nvPr/>
        </p:nvSpPr>
        <p:spPr>
          <a:xfrm>
            <a:off x="3591876" y="3262552"/>
            <a:ext cx="1323981" cy="954107"/>
          </a:xfrm>
          <a:prstGeom prst="rightArrowCallout">
            <a:avLst>
              <a:gd name="adj1" fmla="val 25000"/>
              <a:gd name="adj2" fmla="val 25000"/>
              <a:gd name="adj3" fmla="val 25000"/>
              <a:gd name="adj4" fmla="val 76488"/>
            </a:avLst>
          </a:prstGeom>
          <a:solidFill>
            <a:srgbClr val="F8F8F8"/>
          </a:solidFill>
          <a:ln>
            <a:solidFill>
              <a:srgbClr val="37373A"/>
            </a:solidFill>
          </a:ln>
        </p:spPr>
        <p:txBody>
          <a:bodyPr wrap="square" rtlCol="0">
            <a:spAutoFit/>
          </a:bodyPr>
          <a:lstStyle>
            <a:defPPr marR="0" lvl="0" algn="l" rtl="0">
              <a:lnSpc>
                <a:spcPct val="100000"/>
              </a:lnSpc>
              <a:spcBef>
                <a:spcPts val="0"/>
              </a:spcBef>
              <a:spcAft>
                <a:spcPts val="0"/>
              </a:spcAft>
              <a:defRPr lang="en-US"/>
            </a:defPPr>
            <a:lvl1pPr marR="0" lvl="0" indent="0" algn="ctr" fontAlgn="auto">
              <a:lnSpc>
                <a:spcPct val="100000"/>
              </a:lnSpc>
              <a:spcBef>
                <a:spcPts val="0"/>
              </a:spcBef>
              <a:spcAft>
                <a:spcPts val="0"/>
              </a:spcAft>
              <a:buClr>
                <a:srgbClr val="000000"/>
              </a:buClr>
              <a:buSzTx/>
              <a:buFont typeface="Arial"/>
              <a:buNone/>
              <a:tabLst/>
              <a:defRPr kumimoji="0" sz="1400" b="1" i="0" u="none" strike="noStrike" kern="0" cap="none" spc="0" normalizeH="0" baseline="0">
                <a:ln>
                  <a:noFill/>
                </a:ln>
                <a:solidFill>
                  <a:srgbClr val="00A4E1"/>
                </a:solidFill>
                <a:effectLst/>
                <a:uLnTx/>
                <a:uFillTx/>
                <a:cs typeface="Arial"/>
              </a:defRPr>
            </a:lvl1pPr>
          </a:lstStyle>
          <a:p>
            <a:r>
              <a:rPr lang="en-US">
                <a:sym typeface="Arial"/>
              </a:rPr>
              <a:t>See all your courses here!</a:t>
            </a:r>
          </a:p>
        </p:txBody>
      </p:sp>
      <p:grpSp>
        <p:nvGrpSpPr>
          <p:cNvPr id="80" name="Group 79">
            <a:extLst>
              <a:ext uri="{FF2B5EF4-FFF2-40B4-BE49-F238E27FC236}">
                <a16:creationId xmlns:a16="http://schemas.microsoft.com/office/drawing/2014/main" id="{3A5E0933-40E2-41D4-AF32-1877747466F2}"/>
              </a:ext>
            </a:extLst>
          </p:cNvPr>
          <p:cNvGrpSpPr/>
          <p:nvPr/>
        </p:nvGrpSpPr>
        <p:grpSpPr>
          <a:xfrm>
            <a:off x="4910651" y="1264099"/>
            <a:ext cx="2560989" cy="4951015"/>
            <a:chOff x="4910651" y="1264099"/>
            <a:chExt cx="2560989" cy="4951015"/>
          </a:xfrm>
        </p:grpSpPr>
        <p:grpSp>
          <p:nvGrpSpPr>
            <p:cNvPr id="72" name="Google Shape;2092;p33">
              <a:extLst>
                <a:ext uri="{FF2B5EF4-FFF2-40B4-BE49-F238E27FC236}">
                  <a16:creationId xmlns:a16="http://schemas.microsoft.com/office/drawing/2014/main" id="{0AC5B80C-0EDD-4D6D-A023-301C425C0649}"/>
                </a:ext>
              </a:extLst>
            </p:cNvPr>
            <p:cNvGrpSpPr/>
            <p:nvPr/>
          </p:nvGrpSpPr>
          <p:grpSpPr>
            <a:xfrm>
              <a:off x="4910651" y="1264099"/>
              <a:ext cx="2560989" cy="4951015"/>
              <a:chOff x="2547150" y="238125"/>
              <a:chExt cx="2525675" cy="5238750"/>
            </a:xfrm>
          </p:grpSpPr>
          <p:sp>
            <p:nvSpPr>
              <p:cNvPr id="73" name="Google Shape;2093;p33">
                <a:extLst>
                  <a:ext uri="{FF2B5EF4-FFF2-40B4-BE49-F238E27FC236}">
                    <a16:creationId xmlns:a16="http://schemas.microsoft.com/office/drawing/2014/main" id="{FCF635AE-DCA6-4300-A8E6-61EF6CBB0618}"/>
                  </a:ext>
                </a:extLst>
              </p:cNvPr>
              <p:cNvSpPr/>
              <p:nvPr/>
            </p:nvSpPr>
            <p:spPr>
              <a:xfrm>
                <a:off x="2547150" y="238125"/>
                <a:ext cx="2525675" cy="5238750"/>
              </a:xfrm>
              <a:custGeom>
                <a:avLst/>
                <a:gdLst/>
                <a:ahLst/>
                <a:cxnLst/>
                <a:rect l="l" t="t" r="r" b="b"/>
                <a:pathLst>
                  <a:path w="101027" h="209550" extrusionOk="0">
                    <a:moveTo>
                      <a:pt x="98629" y="18886"/>
                    </a:moveTo>
                    <a:lnTo>
                      <a:pt x="98629" y="190364"/>
                    </a:lnTo>
                    <a:lnTo>
                      <a:pt x="2398" y="190364"/>
                    </a:lnTo>
                    <a:lnTo>
                      <a:pt x="2398" y="18886"/>
                    </a:lnTo>
                    <a:close/>
                    <a:moveTo>
                      <a:pt x="10343" y="0"/>
                    </a:moveTo>
                    <a:lnTo>
                      <a:pt x="9293" y="75"/>
                    </a:lnTo>
                    <a:lnTo>
                      <a:pt x="8244" y="225"/>
                    </a:lnTo>
                    <a:lnTo>
                      <a:pt x="7270" y="450"/>
                    </a:lnTo>
                    <a:lnTo>
                      <a:pt x="6295" y="824"/>
                    </a:lnTo>
                    <a:lnTo>
                      <a:pt x="5396" y="1274"/>
                    </a:lnTo>
                    <a:lnTo>
                      <a:pt x="4572" y="1799"/>
                    </a:lnTo>
                    <a:lnTo>
                      <a:pt x="3747" y="2398"/>
                    </a:lnTo>
                    <a:lnTo>
                      <a:pt x="2998" y="3073"/>
                    </a:lnTo>
                    <a:lnTo>
                      <a:pt x="2323" y="3747"/>
                    </a:lnTo>
                    <a:lnTo>
                      <a:pt x="1724" y="4572"/>
                    </a:lnTo>
                    <a:lnTo>
                      <a:pt x="1199" y="5396"/>
                    </a:lnTo>
                    <a:lnTo>
                      <a:pt x="824" y="6370"/>
                    </a:lnTo>
                    <a:lnTo>
                      <a:pt x="450" y="7270"/>
                    </a:lnTo>
                    <a:lnTo>
                      <a:pt x="225" y="8319"/>
                    </a:lnTo>
                    <a:lnTo>
                      <a:pt x="0" y="9293"/>
                    </a:lnTo>
                    <a:lnTo>
                      <a:pt x="0" y="10343"/>
                    </a:lnTo>
                    <a:lnTo>
                      <a:pt x="0" y="199207"/>
                    </a:lnTo>
                    <a:lnTo>
                      <a:pt x="0" y="200257"/>
                    </a:lnTo>
                    <a:lnTo>
                      <a:pt x="225" y="201231"/>
                    </a:lnTo>
                    <a:lnTo>
                      <a:pt x="450" y="202280"/>
                    </a:lnTo>
                    <a:lnTo>
                      <a:pt x="824" y="203180"/>
                    </a:lnTo>
                    <a:lnTo>
                      <a:pt x="1199" y="204154"/>
                    </a:lnTo>
                    <a:lnTo>
                      <a:pt x="1724" y="204978"/>
                    </a:lnTo>
                    <a:lnTo>
                      <a:pt x="2323" y="205803"/>
                    </a:lnTo>
                    <a:lnTo>
                      <a:pt x="2998" y="206477"/>
                    </a:lnTo>
                    <a:lnTo>
                      <a:pt x="3747" y="207152"/>
                    </a:lnTo>
                    <a:lnTo>
                      <a:pt x="4572" y="207751"/>
                    </a:lnTo>
                    <a:lnTo>
                      <a:pt x="5396" y="208276"/>
                    </a:lnTo>
                    <a:lnTo>
                      <a:pt x="6295" y="208726"/>
                    </a:lnTo>
                    <a:lnTo>
                      <a:pt x="7270" y="209100"/>
                    </a:lnTo>
                    <a:lnTo>
                      <a:pt x="8244" y="209325"/>
                    </a:lnTo>
                    <a:lnTo>
                      <a:pt x="9293" y="209475"/>
                    </a:lnTo>
                    <a:lnTo>
                      <a:pt x="10343" y="209550"/>
                    </a:lnTo>
                    <a:lnTo>
                      <a:pt x="90610" y="209550"/>
                    </a:lnTo>
                    <a:lnTo>
                      <a:pt x="91659" y="209475"/>
                    </a:lnTo>
                    <a:lnTo>
                      <a:pt x="92708" y="209325"/>
                    </a:lnTo>
                    <a:lnTo>
                      <a:pt x="93682" y="209100"/>
                    </a:lnTo>
                    <a:lnTo>
                      <a:pt x="94657" y="208726"/>
                    </a:lnTo>
                    <a:lnTo>
                      <a:pt x="95556" y="208276"/>
                    </a:lnTo>
                    <a:lnTo>
                      <a:pt x="96455" y="207751"/>
                    </a:lnTo>
                    <a:lnTo>
                      <a:pt x="97205" y="207152"/>
                    </a:lnTo>
                    <a:lnTo>
                      <a:pt x="97954" y="206477"/>
                    </a:lnTo>
                    <a:lnTo>
                      <a:pt x="98629" y="205803"/>
                    </a:lnTo>
                    <a:lnTo>
                      <a:pt x="99228" y="204978"/>
                    </a:lnTo>
                    <a:lnTo>
                      <a:pt x="99753" y="204154"/>
                    </a:lnTo>
                    <a:lnTo>
                      <a:pt x="100203" y="203180"/>
                    </a:lnTo>
                    <a:lnTo>
                      <a:pt x="100577" y="202280"/>
                    </a:lnTo>
                    <a:lnTo>
                      <a:pt x="100802" y="201231"/>
                    </a:lnTo>
                    <a:lnTo>
                      <a:pt x="100952" y="200257"/>
                    </a:lnTo>
                    <a:lnTo>
                      <a:pt x="101027" y="199207"/>
                    </a:lnTo>
                    <a:lnTo>
                      <a:pt x="101027" y="10343"/>
                    </a:lnTo>
                    <a:lnTo>
                      <a:pt x="100952" y="9293"/>
                    </a:lnTo>
                    <a:lnTo>
                      <a:pt x="100802" y="8319"/>
                    </a:lnTo>
                    <a:lnTo>
                      <a:pt x="100577" y="7270"/>
                    </a:lnTo>
                    <a:lnTo>
                      <a:pt x="100203" y="6370"/>
                    </a:lnTo>
                    <a:lnTo>
                      <a:pt x="99753" y="5396"/>
                    </a:lnTo>
                    <a:lnTo>
                      <a:pt x="99228" y="4572"/>
                    </a:lnTo>
                    <a:lnTo>
                      <a:pt x="98629" y="3747"/>
                    </a:lnTo>
                    <a:lnTo>
                      <a:pt x="97954" y="3073"/>
                    </a:lnTo>
                    <a:lnTo>
                      <a:pt x="97205" y="2398"/>
                    </a:lnTo>
                    <a:lnTo>
                      <a:pt x="96455" y="1799"/>
                    </a:lnTo>
                    <a:lnTo>
                      <a:pt x="95556" y="1274"/>
                    </a:lnTo>
                    <a:lnTo>
                      <a:pt x="94657" y="824"/>
                    </a:lnTo>
                    <a:lnTo>
                      <a:pt x="93682" y="450"/>
                    </a:lnTo>
                    <a:lnTo>
                      <a:pt x="92708" y="225"/>
                    </a:lnTo>
                    <a:lnTo>
                      <a:pt x="91659" y="75"/>
                    </a:lnTo>
                    <a:lnTo>
                      <a:pt x="90610" y="0"/>
                    </a:lnTo>
                    <a:close/>
                  </a:path>
                </a:pathLst>
              </a:custGeom>
              <a:solidFill>
                <a:sysClr val="windowText" lastClr="000000"/>
              </a:solidFill>
              <a:ln w="19050" cap="flat" cmpd="sng">
                <a:solidFill>
                  <a:sysClr val="windowText" lastClr="000000"/>
                </a:solidFill>
                <a:prstDash val="solid"/>
                <a:round/>
                <a:headEnd type="none" w="sm" len="sm"/>
                <a:tailEnd type="none" w="sm" len="sm"/>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sp>
            <p:nvSpPr>
              <p:cNvPr id="74" name="Google Shape;2094;p33">
                <a:extLst>
                  <a:ext uri="{FF2B5EF4-FFF2-40B4-BE49-F238E27FC236}">
                    <a16:creationId xmlns:a16="http://schemas.microsoft.com/office/drawing/2014/main" id="{6EFF76EB-B670-4EF8-A61F-FE4183E0EAD9}"/>
                  </a:ext>
                </a:extLst>
              </p:cNvPr>
              <p:cNvSpPr/>
              <p:nvPr/>
            </p:nvSpPr>
            <p:spPr>
              <a:xfrm>
                <a:off x="3557025" y="5147100"/>
                <a:ext cx="504050" cy="179900"/>
              </a:xfrm>
              <a:custGeom>
                <a:avLst/>
                <a:gdLst/>
                <a:ahLst/>
                <a:cxnLst/>
                <a:rect l="l" t="t" r="r" b="b"/>
                <a:pathLst>
                  <a:path w="20162" h="7196" extrusionOk="0">
                    <a:moveTo>
                      <a:pt x="3598" y="0"/>
                    </a:moveTo>
                    <a:lnTo>
                      <a:pt x="2849" y="75"/>
                    </a:lnTo>
                    <a:lnTo>
                      <a:pt x="2174" y="300"/>
                    </a:lnTo>
                    <a:lnTo>
                      <a:pt x="1575" y="600"/>
                    </a:lnTo>
                    <a:lnTo>
                      <a:pt x="1050" y="1050"/>
                    </a:lnTo>
                    <a:lnTo>
                      <a:pt x="600" y="1574"/>
                    </a:lnTo>
                    <a:lnTo>
                      <a:pt x="301" y="2174"/>
                    </a:lnTo>
                    <a:lnTo>
                      <a:pt x="76" y="2848"/>
                    </a:lnTo>
                    <a:lnTo>
                      <a:pt x="1" y="3598"/>
                    </a:lnTo>
                    <a:lnTo>
                      <a:pt x="76" y="4347"/>
                    </a:lnTo>
                    <a:lnTo>
                      <a:pt x="301" y="5022"/>
                    </a:lnTo>
                    <a:lnTo>
                      <a:pt x="600" y="5621"/>
                    </a:lnTo>
                    <a:lnTo>
                      <a:pt x="1050" y="6146"/>
                    </a:lnTo>
                    <a:lnTo>
                      <a:pt x="1575" y="6596"/>
                    </a:lnTo>
                    <a:lnTo>
                      <a:pt x="2174" y="6896"/>
                    </a:lnTo>
                    <a:lnTo>
                      <a:pt x="2849" y="7120"/>
                    </a:lnTo>
                    <a:lnTo>
                      <a:pt x="3598" y="7195"/>
                    </a:lnTo>
                    <a:lnTo>
                      <a:pt x="16639" y="7195"/>
                    </a:lnTo>
                    <a:lnTo>
                      <a:pt x="17313" y="7120"/>
                    </a:lnTo>
                    <a:lnTo>
                      <a:pt x="17988" y="6896"/>
                    </a:lnTo>
                    <a:lnTo>
                      <a:pt x="18587" y="6596"/>
                    </a:lnTo>
                    <a:lnTo>
                      <a:pt x="19112" y="6146"/>
                    </a:lnTo>
                    <a:lnTo>
                      <a:pt x="19562" y="5621"/>
                    </a:lnTo>
                    <a:lnTo>
                      <a:pt x="19861" y="5022"/>
                    </a:lnTo>
                    <a:lnTo>
                      <a:pt x="20086" y="4347"/>
                    </a:lnTo>
                    <a:lnTo>
                      <a:pt x="20161" y="3598"/>
                    </a:lnTo>
                    <a:lnTo>
                      <a:pt x="20086" y="2848"/>
                    </a:lnTo>
                    <a:lnTo>
                      <a:pt x="19861" y="2174"/>
                    </a:lnTo>
                    <a:lnTo>
                      <a:pt x="19562" y="1574"/>
                    </a:lnTo>
                    <a:lnTo>
                      <a:pt x="19112" y="1050"/>
                    </a:lnTo>
                    <a:lnTo>
                      <a:pt x="18587" y="600"/>
                    </a:lnTo>
                    <a:lnTo>
                      <a:pt x="17988" y="300"/>
                    </a:lnTo>
                    <a:lnTo>
                      <a:pt x="17313" y="75"/>
                    </a:lnTo>
                    <a:lnTo>
                      <a:pt x="16639" y="0"/>
                    </a:lnTo>
                    <a:close/>
                  </a:path>
                </a:pathLst>
              </a:custGeom>
              <a:solidFill>
                <a:sysClr val="window" lastClr="FFFFFF"/>
              </a:solidFill>
              <a:ln>
                <a:solidFill>
                  <a:sysClr val="windowText" lastClr="000000"/>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sp>
            <p:nvSpPr>
              <p:cNvPr id="75" name="Google Shape;2095;p33">
                <a:extLst>
                  <a:ext uri="{FF2B5EF4-FFF2-40B4-BE49-F238E27FC236}">
                    <a16:creationId xmlns:a16="http://schemas.microsoft.com/office/drawing/2014/main" id="{9913D0A9-5D12-4F12-9315-07D3F1905B71}"/>
                  </a:ext>
                </a:extLst>
              </p:cNvPr>
              <p:cNvSpPr/>
              <p:nvPr/>
            </p:nvSpPr>
            <p:spPr>
              <a:xfrm>
                <a:off x="3008050" y="423600"/>
                <a:ext cx="99325" cy="99325"/>
              </a:xfrm>
              <a:custGeom>
                <a:avLst/>
                <a:gdLst/>
                <a:ahLst/>
                <a:cxnLst/>
                <a:rect l="l" t="t" r="r" b="b"/>
                <a:pathLst>
                  <a:path w="3973" h="3973" extrusionOk="0">
                    <a:moveTo>
                      <a:pt x="2024" y="1"/>
                    </a:moveTo>
                    <a:lnTo>
                      <a:pt x="1575" y="76"/>
                    </a:lnTo>
                    <a:lnTo>
                      <a:pt x="1200" y="151"/>
                    </a:lnTo>
                    <a:lnTo>
                      <a:pt x="900" y="375"/>
                    </a:lnTo>
                    <a:lnTo>
                      <a:pt x="600" y="600"/>
                    </a:lnTo>
                    <a:lnTo>
                      <a:pt x="375" y="900"/>
                    </a:lnTo>
                    <a:lnTo>
                      <a:pt x="151" y="1200"/>
                    </a:lnTo>
                    <a:lnTo>
                      <a:pt x="76" y="1575"/>
                    </a:lnTo>
                    <a:lnTo>
                      <a:pt x="1" y="2024"/>
                    </a:lnTo>
                    <a:lnTo>
                      <a:pt x="76" y="2399"/>
                    </a:lnTo>
                    <a:lnTo>
                      <a:pt x="151" y="2774"/>
                    </a:lnTo>
                    <a:lnTo>
                      <a:pt x="375" y="3073"/>
                    </a:lnTo>
                    <a:lnTo>
                      <a:pt x="600" y="3373"/>
                    </a:lnTo>
                    <a:lnTo>
                      <a:pt x="900" y="3673"/>
                    </a:lnTo>
                    <a:lnTo>
                      <a:pt x="1200" y="3823"/>
                    </a:lnTo>
                    <a:lnTo>
                      <a:pt x="1575" y="3973"/>
                    </a:lnTo>
                    <a:lnTo>
                      <a:pt x="2399" y="3973"/>
                    </a:lnTo>
                    <a:lnTo>
                      <a:pt x="2774" y="3823"/>
                    </a:lnTo>
                    <a:lnTo>
                      <a:pt x="3073" y="3673"/>
                    </a:lnTo>
                    <a:lnTo>
                      <a:pt x="3373" y="3373"/>
                    </a:lnTo>
                    <a:lnTo>
                      <a:pt x="3598" y="3073"/>
                    </a:lnTo>
                    <a:lnTo>
                      <a:pt x="3823" y="2774"/>
                    </a:lnTo>
                    <a:lnTo>
                      <a:pt x="3898" y="2399"/>
                    </a:lnTo>
                    <a:lnTo>
                      <a:pt x="3973" y="2024"/>
                    </a:lnTo>
                    <a:lnTo>
                      <a:pt x="3898" y="1575"/>
                    </a:lnTo>
                    <a:lnTo>
                      <a:pt x="3823" y="1200"/>
                    </a:lnTo>
                    <a:lnTo>
                      <a:pt x="3598" y="900"/>
                    </a:lnTo>
                    <a:lnTo>
                      <a:pt x="3373" y="600"/>
                    </a:lnTo>
                    <a:lnTo>
                      <a:pt x="3073" y="375"/>
                    </a:lnTo>
                    <a:lnTo>
                      <a:pt x="2774" y="151"/>
                    </a:lnTo>
                    <a:lnTo>
                      <a:pt x="2399" y="76"/>
                    </a:lnTo>
                    <a:lnTo>
                      <a:pt x="2024" y="1"/>
                    </a:lnTo>
                    <a:close/>
                  </a:path>
                </a:pathLst>
              </a:custGeom>
              <a:solidFill>
                <a:sysClr val="window" lastClr="FFFFFF"/>
              </a:solidFill>
              <a:ln>
                <a:solidFill>
                  <a:sysClr val="windowText" lastClr="000000"/>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sp>
            <p:nvSpPr>
              <p:cNvPr id="76" name="Google Shape;2096;p33">
                <a:extLst>
                  <a:ext uri="{FF2B5EF4-FFF2-40B4-BE49-F238E27FC236}">
                    <a16:creationId xmlns:a16="http://schemas.microsoft.com/office/drawing/2014/main" id="{3CB585F4-B680-4EF9-A8F4-D95AFF1C8D97}"/>
                  </a:ext>
                </a:extLst>
              </p:cNvPr>
              <p:cNvSpPr/>
              <p:nvPr/>
            </p:nvSpPr>
            <p:spPr>
              <a:xfrm>
                <a:off x="3566400" y="434850"/>
                <a:ext cx="487175" cy="76850"/>
              </a:xfrm>
              <a:custGeom>
                <a:avLst/>
                <a:gdLst/>
                <a:ahLst/>
                <a:cxnLst/>
                <a:rect l="l" t="t" r="r" b="b"/>
                <a:pathLst>
                  <a:path w="19487" h="3074" extrusionOk="0">
                    <a:moveTo>
                      <a:pt x="1275" y="0"/>
                    </a:moveTo>
                    <a:lnTo>
                      <a:pt x="1050" y="75"/>
                    </a:lnTo>
                    <a:lnTo>
                      <a:pt x="750" y="150"/>
                    </a:lnTo>
                    <a:lnTo>
                      <a:pt x="525" y="300"/>
                    </a:lnTo>
                    <a:lnTo>
                      <a:pt x="375" y="450"/>
                    </a:lnTo>
                    <a:lnTo>
                      <a:pt x="225" y="675"/>
                    </a:lnTo>
                    <a:lnTo>
                      <a:pt x="75" y="975"/>
                    </a:lnTo>
                    <a:lnTo>
                      <a:pt x="1" y="1274"/>
                    </a:lnTo>
                    <a:lnTo>
                      <a:pt x="1" y="1574"/>
                    </a:lnTo>
                    <a:lnTo>
                      <a:pt x="1" y="1874"/>
                    </a:lnTo>
                    <a:lnTo>
                      <a:pt x="75" y="2174"/>
                    </a:lnTo>
                    <a:lnTo>
                      <a:pt x="225" y="2399"/>
                    </a:lnTo>
                    <a:lnTo>
                      <a:pt x="375" y="2623"/>
                    </a:lnTo>
                    <a:lnTo>
                      <a:pt x="525" y="2773"/>
                    </a:lnTo>
                    <a:lnTo>
                      <a:pt x="750" y="2923"/>
                    </a:lnTo>
                    <a:lnTo>
                      <a:pt x="1050" y="2998"/>
                    </a:lnTo>
                    <a:lnTo>
                      <a:pt x="1275" y="3073"/>
                    </a:lnTo>
                    <a:lnTo>
                      <a:pt x="18137" y="3073"/>
                    </a:lnTo>
                    <a:lnTo>
                      <a:pt x="18437" y="2998"/>
                    </a:lnTo>
                    <a:lnTo>
                      <a:pt x="18662" y="2923"/>
                    </a:lnTo>
                    <a:lnTo>
                      <a:pt x="18887" y="2773"/>
                    </a:lnTo>
                    <a:lnTo>
                      <a:pt x="19112" y="2623"/>
                    </a:lnTo>
                    <a:lnTo>
                      <a:pt x="19262" y="2399"/>
                    </a:lnTo>
                    <a:lnTo>
                      <a:pt x="19337" y="2174"/>
                    </a:lnTo>
                    <a:lnTo>
                      <a:pt x="19412" y="1874"/>
                    </a:lnTo>
                    <a:lnTo>
                      <a:pt x="19486" y="1574"/>
                    </a:lnTo>
                    <a:lnTo>
                      <a:pt x="19412" y="1274"/>
                    </a:lnTo>
                    <a:lnTo>
                      <a:pt x="19337" y="975"/>
                    </a:lnTo>
                    <a:lnTo>
                      <a:pt x="19262" y="675"/>
                    </a:lnTo>
                    <a:lnTo>
                      <a:pt x="19112" y="450"/>
                    </a:lnTo>
                    <a:lnTo>
                      <a:pt x="18887" y="300"/>
                    </a:lnTo>
                    <a:lnTo>
                      <a:pt x="18662" y="150"/>
                    </a:lnTo>
                    <a:lnTo>
                      <a:pt x="18437" y="75"/>
                    </a:lnTo>
                    <a:lnTo>
                      <a:pt x="18137" y="0"/>
                    </a:lnTo>
                    <a:close/>
                  </a:path>
                </a:pathLst>
              </a:custGeom>
              <a:solidFill>
                <a:sysClr val="window" lastClr="FFFFFF"/>
              </a:solidFill>
              <a:ln>
                <a:solidFill>
                  <a:sysClr val="windowText" lastClr="000000"/>
                </a:solid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cs typeface="Arial"/>
                  <a:sym typeface="Arial"/>
                </a:endParaRPr>
              </a:p>
            </p:txBody>
          </p:sp>
        </p:grpSp>
        <p:sp>
          <p:nvSpPr>
            <p:cNvPr id="60" name="Rectangle 59">
              <a:extLst>
                <a:ext uri="{FF2B5EF4-FFF2-40B4-BE49-F238E27FC236}">
                  <a16:creationId xmlns:a16="http://schemas.microsoft.com/office/drawing/2014/main" id="{679961A1-FB48-4D22-B9FE-17876A5E7061}"/>
                </a:ext>
              </a:extLst>
            </p:cNvPr>
            <p:cNvSpPr/>
            <p:nvPr/>
          </p:nvSpPr>
          <p:spPr>
            <a:xfrm>
              <a:off x="6471144" y="1722092"/>
              <a:ext cx="209056" cy="297916"/>
            </a:xfrm>
            <a:prstGeom prst="rect">
              <a:avLst/>
            </a:prstGeom>
            <a:solidFill>
              <a:srgbClr val="1E5E3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rgbClr val="FFFFFF"/>
                </a:solidFill>
              </a:endParaRPr>
            </a:p>
          </p:txBody>
        </p:sp>
      </p:grpSp>
    </p:spTree>
    <p:extLst>
      <p:ext uri="{BB962C8B-B14F-4D97-AF65-F5344CB8AC3E}">
        <p14:creationId xmlns:p14="http://schemas.microsoft.com/office/powerpoint/2010/main" val="201019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84A58-C4D3-4853-ABE9-310A4A8FBF12}"/>
              </a:ext>
            </a:extLst>
          </p:cNvPr>
          <p:cNvSpPr txBox="1">
            <a:spLocks/>
          </p:cNvSpPr>
          <p:nvPr/>
        </p:nvSpPr>
        <p:spPr>
          <a:xfrm>
            <a:off x="486018" y="32197"/>
            <a:ext cx="10933350" cy="332399"/>
          </a:xfrm>
          <a:prstGeom prst="rect">
            <a:avLst/>
          </a:prstGeom>
        </p:spPr>
        <p:txBody>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a:lstStyle>
          <a:p>
            <a:endParaRPr lang="en-US">
              <a:solidFill>
                <a:schemeClr val="bg1"/>
              </a:solidFill>
            </a:endParaRPr>
          </a:p>
        </p:txBody>
      </p:sp>
      <p:sp>
        <p:nvSpPr>
          <p:cNvPr id="3" name="Rectangle 2">
            <a:extLst>
              <a:ext uri="{FF2B5EF4-FFF2-40B4-BE49-F238E27FC236}">
                <a16:creationId xmlns:a16="http://schemas.microsoft.com/office/drawing/2014/main" id="{1AA3F421-31DA-4C8C-9E4E-53C664D28243}"/>
              </a:ext>
            </a:extLst>
          </p:cNvPr>
          <p:cNvSpPr/>
          <p:nvPr/>
        </p:nvSpPr>
        <p:spPr>
          <a:xfrm>
            <a:off x="224828" y="841654"/>
            <a:ext cx="5121915" cy="369332"/>
          </a:xfrm>
          <a:prstGeom prst="rect">
            <a:avLst/>
          </a:prstGeom>
        </p:spPr>
        <p:txBody>
          <a:bodyPr wrap="none">
            <a:spAutoFit/>
          </a:bodyPr>
          <a:lstStyle/>
          <a:p>
            <a:pPr lvl="0">
              <a:lnSpc>
                <a:spcPct val="100000"/>
              </a:lnSpc>
            </a:pPr>
            <a:r>
              <a:rPr lang="en-US" b="1" i="1">
                <a:solidFill>
                  <a:schemeClr val="bg1"/>
                </a:solidFill>
              </a:rPr>
              <a:t>1. Course and learner management interface </a:t>
            </a:r>
          </a:p>
        </p:txBody>
      </p:sp>
      <p:pic>
        <p:nvPicPr>
          <p:cNvPr id="5" name="Picture 4">
            <a:extLst>
              <a:ext uri="{FF2B5EF4-FFF2-40B4-BE49-F238E27FC236}">
                <a16:creationId xmlns:a16="http://schemas.microsoft.com/office/drawing/2014/main" id="{25339BC1-6D68-4826-B774-F77635ADA26F}"/>
              </a:ext>
            </a:extLst>
          </p:cNvPr>
          <p:cNvPicPr>
            <a:picLocks noChangeAspect="1"/>
          </p:cNvPicPr>
          <p:nvPr/>
        </p:nvPicPr>
        <p:blipFill rotWithShape="1">
          <a:blip r:embed="rId2"/>
          <a:srcRect r="32040"/>
          <a:stretch/>
        </p:blipFill>
        <p:spPr>
          <a:xfrm>
            <a:off x="4331421" y="4660088"/>
            <a:ext cx="4097063" cy="1921673"/>
          </a:xfrm>
          <a:prstGeom prst="rect">
            <a:avLst/>
          </a:prstGeom>
        </p:spPr>
      </p:pic>
      <p:pic>
        <p:nvPicPr>
          <p:cNvPr id="6" name="Picture 5">
            <a:extLst>
              <a:ext uri="{FF2B5EF4-FFF2-40B4-BE49-F238E27FC236}">
                <a16:creationId xmlns:a16="http://schemas.microsoft.com/office/drawing/2014/main" id="{2DDFEBEA-E157-4431-892B-12EF0CF65D9D}"/>
              </a:ext>
            </a:extLst>
          </p:cNvPr>
          <p:cNvPicPr>
            <a:picLocks noChangeAspect="1"/>
          </p:cNvPicPr>
          <p:nvPr/>
        </p:nvPicPr>
        <p:blipFill>
          <a:blip r:embed="rId3"/>
          <a:stretch>
            <a:fillRect/>
          </a:stretch>
        </p:blipFill>
        <p:spPr>
          <a:xfrm>
            <a:off x="346318" y="4657667"/>
            <a:ext cx="3786060" cy="1924094"/>
          </a:xfrm>
          <a:prstGeom prst="rect">
            <a:avLst/>
          </a:prstGeom>
        </p:spPr>
      </p:pic>
      <p:pic>
        <p:nvPicPr>
          <p:cNvPr id="8" name="Picture 7">
            <a:extLst>
              <a:ext uri="{FF2B5EF4-FFF2-40B4-BE49-F238E27FC236}">
                <a16:creationId xmlns:a16="http://schemas.microsoft.com/office/drawing/2014/main" id="{90B7E97A-C4AE-4949-B085-276CC11EC493}"/>
              </a:ext>
            </a:extLst>
          </p:cNvPr>
          <p:cNvPicPr>
            <a:picLocks noChangeAspect="1"/>
          </p:cNvPicPr>
          <p:nvPr/>
        </p:nvPicPr>
        <p:blipFill>
          <a:blip r:embed="rId4"/>
          <a:stretch>
            <a:fillRect/>
          </a:stretch>
        </p:blipFill>
        <p:spPr>
          <a:xfrm>
            <a:off x="346318" y="1309844"/>
            <a:ext cx="6579475" cy="2622760"/>
          </a:xfrm>
          <a:prstGeom prst="rect">
            <a:avLst/>
          </a:prstGeom>
        </p:spPr>
      </p:pic>
      <p:sp>
        <p:nvSpPr>
          <p:cNvPr id="9" name="Rectangle 8">
            <a:extLst>
              <a:ext uri="{FF2B5EF4-FFF2-40B4-BE49-F238E27FC236}">
                <a16:creationId xmlns:a16="http://schemas.microsoft.com/office/drawing/2014/main" id="{12FE02F6-72AA-4D4C-A56B-F455D5E718DC}"/>
              </a:ext>
            </a:extLst>
          </p:cNvPr>
          <p:cNvSpPr/>
          <p:nvPr/>
        </p:nvSpPr>
        <p:spPr>
          <a:xfrm>
            <a:off x="346318" y="1309844"/>
            <a:ext cx="1077310" cy="287496"/>
          </a:xfrm>
          <a:prstGeom prst="rect">
            <a:avLst/>
          </a:prstGeom>
          <a:noFill/>
          <a:ln w="38100" cap="rnd" cmpd="sng" algn="ctr">
            <a:solidFill>
              <a:srgbClr val="FF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rgbClr val="00A4E1"/>
              </a:solidFill>
            </a:endParaRPr>
          </a:p>
        </p:txBody>
      </p:sp>
      <p:sp>
        <p:nvSpPr>
          <p:cNvPr id="10" name="TextBox 9">
            <a:extLst>
              <a:ext uri="{FF2B5EF4-FFF2-40B4-BE49-F238E27FC236}">
                <a16:creationId xmlns:a16="http://schemas.microsoft.com/office/drawing/2014/main" id="{C1927567-DF6D-47C6-BA9B-D0F1BD8B2C6F}"/>
              </a:ext>
            </a:extLst>
          </p:cNvPr>
          <p:cNvSpPr txBox="1"/>
          <p:nvPr/>
        </p:nvSpPr>
        <p:spPr>
          <a:xfrm>
            <a:off x="1486691" y="1182228"/>
            <a:ext cx="4469610" cy="559683"/>
          </a:xfrm>
          <a:prstGeom prst="leftArrow">
            <a:avLst>
              <a:gd name="adj1" fmla="val 50000"/>
              <a:gd name="adj2" fmla="val 52500"/>
            </a:avLst>
          </a:prstGeom>
          <a:solidFill>
            <a:schemeClr val="accent3"/>
          </a:solidFill>
          <a:ln>
            <a:solidFill>
              <a:srgbClr val="FF0000"/>
            </a:solidFill>
          </a:ln>
          <a:extLst>
            <a:ext uri="{909E8E84-426E-40dd-AFC4-6F175D3DCCD1}">
              <a14:hiddenFill xmlns:a14="http://schemas.microsoft.com/office/drawing/2010/main" xmlns="">
                <a:solidFill>
                  <a:srgbClr val="29BA74"/>
                </a:solidFill>
              </a14:hiddenFill>
            </a:ext>
          </a:ex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b="1" i="1" dirty="0">
                <a:solidFill>
                  <a:schemeClr val="bg1"/>
                </a:solidFill>
              </a:rPr>
              <a:t>Easily organize courses under “Course Library” and “My Courses”</a:t>
            </a:r>
          </a:p>
        </p:txBody>
      </p:sp>
      <p:sp>
        <p:nvSpPr>
          <p:cNvPr id="11" name="Rectangle 10">
            <a:extLst>
              <a:ext uri="{FF2B5EF4-FFF2-40B4-BE49-F238E27FC236}">
                <a16:creationId xmlns:a16="http://schemas.microsoft.com/office/drawing/2014/main" id="{EAF26F3B-D56C-4FE1-AE89-11C763BF0F6D}"/>
              </a:ext>
            </a:extLst>
          </p:cNvPr>
          <p:cNvSpPr/>
          <p:nvPr/>
        </p:nvSpPr>
        <p:spPr>
          <a:xfrm>
            <a:off x="346318" y="2809555"/>
            <a:ext cx="1140372" cy="369332"/>
          </a:xfrm>
          <a:prstGeom prst="rect">
            <a:avLst/>
          </a:prstGeom>
          <a:noFill/>
          <a:ln w="38100" cap="rnd" cmpd="sng" algn="ctr">
            <a:solidFill>
              <a:srgbClr val="FF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rgbClr val="00A4E1"/>
              </a:solidFill>
            </a:endParaRPr>
          </a:p>
        </p:txBody>
      </p:sp>
      <p:sp>
        <p:nvSpPr>
          <p:cNvPr id="12" name="TextBox 11">
            <a:extLst>
              <a:ext uri="{FF2B5EF4-FFF2-40B4-BE49-F238E27FC236}">
                <a16:creationId xmlns:a16="http://schemas.microsoft.com/office/drawing/2014/main" id="{0A860019-D8D8-4F4B-A43D-B1EBD775AE17}"/>
              </a:ext>
            </a:extLst>
          </p:cNvPr>
          <p:cNvSpPr txBox="1"/>
          <p:nvPr/>
        </p:nvSpPr>
        <p:spPr>
          <a:xfrm>
            <a:off x="1548499" y="2645013"/>
            <a:ext cx="3798244" cy="619971"/>
          </a:xfrm>
          <a:prstGeom prst="leftArrow">
            <a:avLst>
              <a:gd name="adj1" fmla="val 50000"/>
              <a:gd name="adj2" fmla="val 36438"/>
            </a:avLst>
          </a:prstGeom>
          <a:solidFill>
            <a:schemeClr val="accent3"/>
          </a:solidFill>
          <a:ln>
            <a:solidFill>
              <a:srgbClr val="FF0000"/>
            </a:solidFill>
          </a:ln>
          <a:extLst>
            <a:ext uri="{909E8E84-426E-40dd-AFC4-6F175D3DCCD1}">
              <a14:hiddenFill xmlns:a14="http://schemas.microsoft.com/office/drawing/2010/main" xmlns="">
                <a:solidFill>
                  <a:srgbClr val="29BA74"/>
                </a:solidFill>
              </a14:hiddenFill>
            </a:ext>
          </a:extLst>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b="1" i="1" dirty="0">
                <a:solidFill>
                  <a:schemeClr val="bg1"/>
                </a:solidFill>
              </a:rPr>
              <a:t>Course organized by subject and grade for easy viewing</a:t>
            </a:r>
          </a:p>
        </p:txBody>
      </p:sp>
      <p:sp>
        <p:nvSpPr>
          <p:cNvPr id="13" name="TextBox 12">
            <a:extLst>
              <a:ext uri="{FF2B5EF4-FFF2-40B4-BE49-F238E27FC236}">
                <a16:creationId xmlns:a16="http://schemas.microsoft.com/office/drawing/2014/main" id="{3BD44FA7-9816-42DC-8CB9-A20C7689AE68}"/>
              </a:ext>
            </a:extLst>
          </p:cNvPr>
          <p:cNvSpPr txBox="1"/>
          <p:nvPr/>
        </p:nvSpPr>
        <p:spPr>
          <a:xfrm>
            <a:off x="2228532" y="4403350"/>
            <a:ext cx="1329781" cy="559683"/>
          </a:xfrm>
          <a:prstGeom prst="downArrowCallout">
            <a:avLst/>
          </a:prstGeom>
          <a:solidFill>
            <a:srgbClr val="FFC000"/>
          </a:solidFill>
          <a:ln w="9525" cap="rnd">
            <a:solidFill>
              <a:srgbClr val="FF0000"/>
            </a:solid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i="1" dirty="0">
                <a:solidFill>
                  <a:schemeClr val="bg1"/>
                </a:solidFill>
              </a:rPr>
              <a:t>Overall analytics</a:t>
            </a:r>
          </a:p>
        </p:txBody>
      </p:sp>
      <p:sp>
        <p:nvSpPr>
          <p:cNvPr id="16" name="Rectangle 15">
            <a:extLst>
              <a:ext uri="{FF2B5EF4-FFF2-40B4-BE49-F238E27FC236}">
                <a16:creationId xmlns:a16="http://schemas.microsoft.com/office/drawing/2014/main" id="{FDE891EF-11E3-412C-8154-B44D20986DAF}"/>
              </a:ext>
            </a:extLst>
          </p:cNvPr>
          <p:cNvSpPr/>
          <p:nvPr/>
        </p:nvSpPr>
        <p:spPr>
          <a:xfrm>
            <a:off x="7096539" y="902976"/>
            <a:ext cx="4916731" cy="369332"/>
          </a:xfrm>
          <a:prstGeom prst="rect">
            <a:avLst/>
          </a:prstGeom>
        </p:spPr>
        <p:txBody>
          <a:bodyPr wrap="none">
            <a:spAutoFit/>
          </a:bodyPr>
          <a:lstStyle/>
          <a:p>
            <a:pPr lvl="0">
              <a:lnSpc>
                <a:spcPct val="100000"/>
              </a:lnSpc>
            </a:pPr>
            <a:r>
              <a:rPr lang="en-US" b="1" i="1">
                <a:solidFill>
                  <a:schemeClr val="bg1"/>
                </a:solidFill>
              </a:rPr>
              <a:t>3. Issue a certificate for completed courses</a:t>
            </a:r>
          </a:p>
        </p:txBody>
      </p:sp>
      <p:pic>
        <p:nvPicPr>
          <p:cNvPr id="17" name="Picture 6" descr="Table&#10;&#10;Description automatically generated">
            <a:extLst>
              <a:ext uri="{FF2B5EF4-FFF2-40B4-BE49-F238E27FC236}">
                <a16:creationId xmlns:a16="http://schemas.microsoft.com/office/drawing/2014/main" id="{7626119A-DD3A-48D6-A5E0-84EFB80674D4}"/>
              </a:ext>
            </a:extLst>
          </p:cNvPr>
          <p:cNvPicPr>
            <a:picLocks noChangeAspect="1"/>
          </p:cNvPicPr>
          <p:nvPr/>
        </p:nvPicPr>
        <p:blipFill rotWithShape="1">
          <a:blip r:embed="rId5"/>
          <a:srcRect l="8751" r="5093"/>
          <a:stretch/>
        </p:blipFill>
        <p:spPr>
          <a:xfrm>
            <a:off x="8610134" y="4647075"/>
            <a:ext cx="3351568" cy="1934686"/>
          </a:xfrm>
          <a:prstGeom prst="rect">
            <a:avLst/>
          </a:prstGeom>
        </p:spPr>
      </p:pic>
      <p:pic>
        <p:nvPicPr>
          <p:cNvPr id="240642" name="Picture 2">
            <a:extLst>
              <a:ext uri="{FF2B5EF4-FFF2-40B4-BE49-F238E27FC236}">
                <a16:creationId xmlns:a16="http://schemas.microsoft.com/office/drawing/2014/main" id="{97F8CC1C-D703-4691-A19E-4BFE886468B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82249" y="1328410"/>
            <a:ext cx="2997419" cy="2124421"/>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946C4F24-59E3-47B7-8073-E6D475D9C7B4}"/>
              </a:ext>
            </a:extLst>
          </p:cNvPr>
          <p:cNvSpPr/>
          <p:nvPr/>
        </p:nvSpPr>
        <p:spPr>
          <a:xfrm>
            <a:off x="0" y="-835"/>
            <a:ext cx="12212866" cy="786387"/>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800" b="1">
                <a:solidFill>
                  <a:srgbClr val="00A4E1"/>
                </a:solidFill>
                <a:latin typeface="+mj-lt"/>
                <a:cs typeface="Calibri Light"/>
              </a:rPr>
              <a:t> Benefits to Educators Using the LP</a:t>
            </a:r>
            <a:endParaRPr lang="en-US" sz="2800">
              <a:solidFill>
                <a:srgbClr val="00A4E1"/>
              </a:solidFill>
              <a:latin typeface="+mj-lt"/>
            </a:endParaRPr>
          </a:p>
        </p:txBody>
      </p:sp>
      <p:sp>
        <p:nvSpPr>
          <p:cNvPr id="4" name="Rectangle 3">
            <a:extLst>
              <a:ext uri="{FF2B5EF4-FFF2-40B4-BE49-F238E27FC236}">
                <a16:creationId xmlns:a16="http://schemas.microsoft.com/office/drawing/2014/main" id="{61C245FB-459D-43B7-8720-566F15A072C1}"/>
              </a:ext>
            </a:extLst>
          </p:cNvPr>
          <p:cNvSpPr/>
          <p:nvPr/>
        </p:nvSpPr>
        <p:spPr>
          <a:xfrm>
            <a:off x="224828" y="4085162"/>
            <a:ext cx="6986303" cy="369332"/>
          </a:xfrm>
          <a:prstGeom prst="rect">
            <a:avLst/>
          </a:prstGeom>
        </p:spPr>
        <p:txBody>
          <a:bodyPr wrap="square">
            <a:spAutoFit/>
          </a:bodyPr>
          <a:lstStyle/>
          <a:p>
            <a:pPr lvl="0">
              <a:lnSpc>
                <a:spcPct val="100000"/>
              </a:lnSpc>
            </a:pPr>
            <a:r>
              <a:rPr lang="en-US" b="1" i="1">
                <a:solidFill>
                  <a:schemeClr val="bg1"/>
                </a:solidFill>
              </a:rPr>
              <a:t>2. Track a learner's progress using the analytics dashboard</a:t>
            </a:r>
            <a:r>
              <a:rPr lang="en-US">
                <a:solidFill>
                  <a:schemeClr val="bg1"/>
                </a:solidFill>
              </a:rPr>
              <a:t> </a:t>
            </a:r>
          </a:p>
        </p:txBody>
      </p:sp>
      <p:sp>
        <p:nvSpPr>
          <p:cNvPr id="21" name="TextBox 20">
            <a:extLst>
              <a:ext uri="{FF2B5EF4-FFF2-40B4-BE49-F238E27FC236}">
                <a16:creationId xmlns:a16="http://schemas.microsoft.com/office/drawing/2014/main" id="{3FB38C92-EEDE-4FD2-A0FA-7449095177C3}"/>
              </a:ext>
            </a:extLst>
          </p:cNvPr>
          <p:cNvSpPr txBox="1"/>
          <p:nvPr/>
        </p:nvSpPr>
        <p:spPr>
          <a:xfrm>
            <a:off x="6834967" y="4403350"/>
            <a:ext cx="1329781" cy="559683"/>
          </a:xfrm>
          <a:prstGeom prst="downArrowCallout">
            <a:avLst/>
          </a:prstGeom>
          <a:solidFill>
            <a:srgbClr val="FFC000"/>
          </a:solidFill>
          <a:ln w="9525" cap="rnd">
            <a:solidFill>
              <a:srgbClr val="FF0000"/>
            </a:solid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i="1" dirty="0">
                <a:solidFill>
                  <a:schemeClr val="bg1"/>
                </a:solidFill>
              </a:rPr>
              <a:t>Analytics for each course</a:t>
            </a:r>
          </a:p>
        </p:txBody>
      </p:sp>
      <p:sp>
        <p:nvSpPr>
          <p:cNvPr id="22" name="TextBox 21">
            <a:extLst>
              <a:ext uri="{FF2B5EF4-FFF2-40B4-BE49-F238E27FC236}">
                <a16:creationId xmlns:a16="http://schemas.microsoft.com/office/drawing/2014/main" id="{9BF8A4C6-D522-4D75-A9C1-D74494BBAB29}"/>
              </a:ext>
            </a:extLst>
          </p:cNvPr>
          <p:cNvSpPr txBox="1"/>
          <p:nvPr/>
        </p:nvSpPr>
        <p:spPr>
          <a:xfrm>
            <a:off x="10496996" y="4403350"/>
            <a:ext cx="1484978" cy="559683"/>
          </a:xfrm>
          <a:prstGeom prst="downArrowCallout">
            <a:avLst/>
          </a:prstGeom>
          <a:solidFill>
            <a:srgbClr val="FFC000"/>
          </a:solidFill>
          <a:ln w="9525" cap="rnd">
            <a:solidFill>
              <a:srgbClr val="FF0000"/>
            </a:solid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i="1" dirty="0">
                <a:solidFill>
                  <a:schemeClr val="bg1"/>
                </a:solidFill>
              </a:rPr>
              <a:t>Quiz scores for specific courses</a:t>
            </a:r>
          </a:p>
        </p:txBody>
      </p:sp>
    </p:spTree>
    <p:extLst>
      <p:ext uri="{BB962C8B-B14F-4D97-AF65-F5344CB8AC3E}">
        <p14:creationId xmlns:p14="http://schemas.microsoft.com/office/powerpoint/2010/main" val="2764520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C2D1F0E-63C8-4DB2-B908-3445339ED317}"/>
              </a:ext>
            </a:extLst>
          </p:cNvPr>
          <p:cNvSpPr/>
          <p:nvPr/>
        </p:nvSpPr>
        <p:spPr>
          <a:xfrm>
            <a:off x="163721" y="3175000"/>
            <a:ext cx="3765550" cy="3233057"/>
          </a:xfrm>
          <a:prstGeom prst="rect">
            <a:avLst/>
          </a:prstGeom>
          <a:solidFill>
            <a:srgbClr val="1F633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rgbClr val="FFFFFF"/>
              </a:solidFill>
            </a:endParaRPr>
          </a:p>
        </p:txBody>
      </p:sp>
      <p:sp>
        <p:nvSpPr>
          <p:cNvPr id="3" name="Title 1">
            <a:extLst>
              <a:ext uri="{FF2B5EF4-FFF2-40B4-BE49-F238E27FC236}">
                <a16:creationId xmlns:a16="http://schemas.microsoft.com/office/drawing/2014/main" id="{34595B8D-92F0-4D14-B614-97D30664DBC2}"/>
              </a:ext>
            </a:extLst>
          </p:cNvPr>
          <p:cNvSpPr txBox="1">
            <a:spLocks/>
          </p:cNvSpPr>
          <p:nvPr/>
        </p:nvSpPr>
        <p:spPr>
          <a:xfrm>
            <a:off x="0" y="0"/>
            <a:ext cx="12192000" cy="1028700"/>
          </a:xfrm>
          <a:prstGeom prst="rect">
            <a:avLst/>
          </a:prstGeom>
          <a:solidFill>
            <a:srgbClr val="00A4E1"/>
          </a:solidFill>
        </p:spPr>
        <p:txBody>
          <a:bodyPr/>
          <a:lstStyle>
            <a:defPPr>
              <a:defRPr lang="en-US"/>
            </a:defPPr>
            <a:lvl1pPr marL="342900">
              <a:lnSpc>
                <a:spcPct val="100000"/>
              </a:lnSpc>
              <a:spcBef>
                <a:spcPct val="0"/>
              </a:spcBef>
              <a:buNone/>
              <a:defRPr sz="500" b="1">
                <a:solidFill>
                  <a:schemeClr val="bg1"/>
                </a:solidFill>
                <a:latin typeface="+mj-lt"/>
                <a:ea typeface="+mj-ea"/>
                <a:cs typeface="+mj-cs"/>
              </a:defRPr>
            </a:lvl1pPr>
          </a:lstStyle>
          <a:p>
            <a:endParaRPr lang="en-US"/>
          </a:p>
          <a:p>
            <a:r>
              <a:rPr lang="en-US" sz="2400"/>
              <a:t>The Learning Passport launched in 8 countries and is in development in over 20+ countries</a:t>
            </a:r>
          </a:p>
        </p:txBody>
      </p:sp>
      <p:sp>
        <p:nvSpPr>
          <p:cNvPr id="9" name="Rectangle 8">
            <a:extLst>
              <a:ext uri="{FF2B5EF4-FFF2-40B4-BE49-F238E27FC236}">
                <a16:creationId xmlns:a16="http://schemas.microsoft.com/office/drawing/2014/main" id="{A292CE37-EE4D-45F5-8853-04F7E610A86A}"/>
              </a:ext>
            </a:extLst>
          </p:cNvPr>
          <p:cNvSpPr/>
          <p:nvPr/>
        </p:nvSpPr>
        <p:spPr>
          <a:xfrm>
            <a:off x="4124777" y="3175000"/>
            <a:ext cx="3901623" cy="3233057"/>
          </a:xfrm>
          <a:prstGeom prst="rect">
            <a:avLst/>
          </a:prstGeom>
          <a:solidFill>
            <a:srgbClr val="3CD1E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rgbClr val="FFFFFF"/>
              </a:solidFill>
            </a:endParaRPr>
          </a:p>
        </p:txBody>
      </p:sp>
      <p:sp>
        <p:nvSpPr>
          <p:cNvPr id="10" name="Rectangle 9">
            <a:extLst>
              <a:ext uri="{FF2B5EF4-FFF2-40B4-BE49-F238E27FC236}">
                <a16:creationId xmlns:a16="http://schemas.microsoft.com/office/drawing/2014/main" id="{7E53C3B2-DF14-4469-938F-B670361A7859}"/>
              </a:ext>
            </a:extLst>
          </p:cNvPr>
          <p:cNvSpPr/>
          <p:nvPr/>
        </p:nvSpPr>
        <p:spPr>
          <a:xfrm>
            <a:off x="8126657" y="3174999"/>
            <a:ext cx="3901623" cy="3233057"/>
          </a:xfrm>
          <a:prstGeom prst="rect">
            <a:avLst/>
          </a:prstGeom>
          <a:solidFill>
            <a:srgbClr val="0000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rgbClr val="FFFFFF"/>
              </a:solidFill>
            </a:endParaRPr>
          </a:p>
        </p:txBody>
      </p:sp>
      <p:sp>
        <p:nvSpPr>
          <p:cNvPr id="4" name="TextBox 3">
            <a:extLst>
              <a:ext uri="{FF2B5EF4-FFF2-40B4-BE49-F238E27FC236}">
                <a16:creationId xmlns:a16="http://schemas.microsoft.com/office/drawing/2014/main" id="{9D9AF2C7-FE50-4E34-B044-FC0B17885A6C}"/>
              </a:ext>
            </a:extLst>
          </p:cNvPr>
          <p:cNvSpPr txBox="1"/>
          <p:nvPr/>
        </p:nvSpPr>
        <p:spPr>
          <a:xfrm>
            <a:off x="163721" y="4347686"/>
            <a:ext cx="12028279" cy="2394857"/>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3"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b="1" dirty="0">
                <a:solidFill>
                  <a:schemeClr val="bg1"/>
                </a:solidFill>
              </a:rPr>
              <a:t>Country</a:t>
            </a:r>
            <a:r>
              <a:rPr lang="en-US" dirty="0">
                <a:solidFill>
                  <a:schemeClr val="bg1"/>
                </a:solidFill>
              </a:rPr>
              <a:t>: </a:t>
            </a:r>
            <a:br>
              <a:rPr lang="en-US" dirty="0">
                <a:solidFill>
                  <a:schemeClr val="bg1"/>
                </a:solidFill>
              </a:rPr>
            </a:br>
            <a:r>
              <a:rPr lang="en-US" dirty="0">
                <a:solidFill>
                  <a:schemeClr val="bg1"/>
                </a:solidFill>
              </a:rPr>
              <a:t>Zimbabwe </a:t>
            </a:r>
            <a:br>
              <a:rPr lang="en-US" dirty="0">
                <a:solidFill>
                  <a:schemeClr val="bg1"/>
                </a:solidFill>
              </a:rPr>
            </a:br>
            <a:endParaRPr lang="en-US" dirty="0">
              <a:solidFill>
                <a:schemeClr val="bg1"/>
              </a:solidFill>
            </a:endParaRPr>
          </a:p>
          <a:p>
            <a:pPr marL="285750" indent="-285750">
              <a:buFont typeface="Arial" panose="020B0604020202020204" pitchFamily="34" charset="0"/>
              <a:buChar char="•"/>
            </a:pPr>
            <a:r>
              <a:rPr lang="en-US" b="1" dirty="0">
                <a:solidFill>
                  <a:schemeClr val="bg1"/>
                </a:solidFill>
              </a:rPr>
              <a:t>Modality: </a:t>
            </a:r>
            <a:br>
              <a:rPr lang="en-US" b="1" dirty="0">
                <a:solidFill>
                  <a:schemeClr val="bg1"/>
                </a:solidFill>
              </a:rPr>
            </a:br>
            <a:r>
              <a:rPr lang="en-US" dirty="0">
                <a:solidFill>
                  <a:schemeClr val="bg1"/>
                </a:solidFill>
              </a:rPr>
              <a:t>Online &amp; Mobile</a:t>
            </a:r>
            <a:br>
              <a:rPr lang="en-US" dirty="0">
                <a:solidFill>
                  <a:schemeClr val="bg1"/>
                </a:solidFill>
              </a:rPr>
            </a:br>
            <a:endParaRPr lang="en-US" dirty="0">
              <a:solidFill>
                <a:schemeClr val="bg1"/>
              </a:solidFill>
            </a:endParaRPr>
          </a:p>
          <a:p>
            <a:pPr marL="285750" indent="-285750">
              <a:buFont typeface="Arial" panose="020B0604020202020204" pitchFamily="34" charset="0"/>
              <a:buChar char="•"/>
            </a:pPr>
            <a:r>
              <a:rPr lang="en-US" b="1" dirty="0">
                <a:solidFill>
                  <a:schemeClr val="bg1"/>
                </a:solidFill>
              </a:rPr>
              <a:t>Use Case</a:t>
            </a:r>
            <a:r>
              <a:rPr lang="en-US" dirty="0">
                <a:solidFill>
                  <a:schemeClr val="bg1"/>
                </a:solidFill>
              </a:rPr>
              <a:t>: </a:t>
            </a:r>
            <a:br>
              <a:rPr lang="en-US" dirty="0">
                <a:solidFill>
                  <a:schemeClr val="bg1"/>
                </a:solidFill>
              </a:rPr>
            </a:br>
            <a:r>
              <a:rPr lang="en-US" dirty="0">
                <a:solidFill>
                  <a:schemeClr val="bg1"/>
                </a:solidFill>
              </a:rPr>
              <a:t>National Primary &amp; Secondary Digital Learning Platform 						</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r>
              <a:rPr lang="en-US" b="1" dirty="0">
                <a:solidFill>
                  <a:schemeClr val="bg1"/>
                </a:solidFill>
              </a:rPr>
              <a:t>Country</a:t>
            </a:r>
            <a:r>
              <a:rPr lang="en-US" dirty="0">
                <a:solidFill>
                  <a:schemeClr val="bg1"/>
                </a:solidFill>
              </a:rPr>
              <a:t>: </a:t>
            </a:r>
            <a:br>
              <a:rPr lang="en-US" dirty="0">
                <a:solidFill>
                  <a:schemeClr val="bg1"/>
                </a:solidFill>
              </a:rPr>
            </a:br>
            <a:r>
              <a:rPr lang="en-US" dirty="0">
                <a:solidFill>
                  <a:schemeClr val="bg1"/>
                </a:solidFill>
              </a:rPr>
              <a:t>Honduras </a:t>
            </a:r>
            <a:br>
              <a:rPr lang="en-US" dirty="0">
                <a:solidFill>
                  <a:schemeClr val="bg1"/>
                </a:solidFill>
              </a:rPr>
            </a:br>
            <a:endParaRPr lang="en-US" dirty="0">
              <a:solidFill>
                <a:schemeClr val="bg1"/>
              </a:solidFill>
            </a:endParaRPr>
          </a:p>
          <a:p>
            <a:pPr marL="285750" indent="-285750">
              <a:buFont typeface="Arial" panose="020B0604020202020204" pitchFamily="34" charset="0"/>
              <a:buChar char="•"/>
            </a:pPr>
            <a:r>
              <a:rPr lang="en-US" b="1" dirty="0">
                <a:solidFill>
                  <a:schemeClr val="bg1"/>
                </a:solidFill>
              </a:rPr>
              <a:t>Modality: </a:t>
            </a:r>
            <a:br>
              <a:rPr lang="en-US" b="1" dirty="0">
                <a:solidFill>
                  <a:schemeClr val="bg1"/>
                </a:solidFill>
              </a:rPr>
            </a:br>
            <a:r>
              <a:rPr lang="en-US" dirty="0">
                <a:solidFill>
                  <a:schemeClr val="bg1"/>
                </a:solidFill>
              </a:rPr>
              <a:t>Online, Mobile &amp; Offline</a:t>
            </a:r>
            <a:br>
              <a:rPr lang="en-US" dirty="0">
                <a:solidFill>
                  <a:schemeClr val="bg1"/>
                </a:solidFill>
              </a:rPr>
            </a:br>
            <a:endParaRPr lang="en-US" dirty="0">
              <a:solidFill>
                <a:schemeClr val="bg1"/>
              </a:solidFill>
            </a:endParaRPr>
          </a:p>
          <a:p>
            <a:pPr marL="285750" indent="-285750">
              <a:buFont typeface="Arial" panose="020B0604020202020204" pitchFamily="34" charset="0"/>
              <a:buChar char="•"/>
            </a:pPr>
            <a:r>
              <a:rPr lang="en-US" b="1" dirty="0">
                <a:solidFill>
                  <a:schemeClr val="bg1"/>
                </a:solidFill>
              </a:rPr>
              <a:t>Use Case</a:t>
            </a:r>
            <a:r>
              <a:rPr lang="en-US" dirty="0">
                <a:solidFill>
                  <a:schemeClr val="bg1"/>
                </a:solidFill>
              </a:rPr>
              <a:t>: </a:t>
            </a:r>
            <a:br>
              <a:rPr lang="en-US" dirty="0">
                <a:solidFill>
                  <a:schemeClr val="bg1"/>
                </a:solidFill>
              </a:rPr>
            </a:br>
            <a:r>
              <a:rPr lang="en-US" dirty="0">
                <a:solidFill>
                  <a:schemeClr val="bg1"/>
                </a:solidFill>
              </a:rPr>
              <a:t>Complement the National Digital Learning Platform – </a:t>
            </a:r>
            <a:r>
              <a:rPr lang="en-US" dirty="0" err="1">
                <a:solidFill>
                  <a:schemeClr val="bg1"/>
                </a:solidFill>
              </a:rPr>
              <a:t>Educatrachos</a:t>
            </a:r>
            <a:endParaRPr lang="en-US" dirty="0">
              <a:solidFill>
                <a:schemeClr val="bg1"/>
              </a:solidFill>
            </a:endParaRPr>
          </a:p>
          <a:p>
            <a:pPr marL="285750" indent="-285750">
              <a:buFont typeface="Arial" panose="020B0604020202020204" pitchFamily="34" charset="0"/>
              <a:buChar char="•"/>
            </a:pPr>
            <a:endParaRPr lang="en-US" b="1" dirty="0">
              <a:solidFill>
                <a:schemeClr val="bg1"/>
              </a:solidFill>
            </a:endParaRPr>
          </a:p>
          <a:p>
            <a:pPr marL="285750" indent="-285750">
              <a:buFont typeface="Arial" panose="020B0604020202020204" pitchFamily="34" charset="0"/>
              <a:buChar char="•"/>
            </a:pPr>
            <a:endParaRPr lang="en-US" b="1" dirty="0">
              <a:solidFill>
                <a:schemeClr val="bg1"/>
              </a:solidFill>
            </a:endParaRPr>
          </a:p>
          <a:p>
            <a:pPr marL="285750" indent="-285750">
              <a:buFont typeface="Arial" panose="020B0604020202020204" pitchFamily="34" charset="0"/>
              <a:buChar char="•"/>
            </a:pPr>
            <a:endParaRPr lang="en-US" b="1" dirty="0">
              <a:solidFill>
                <a:schemeClr val="bg1"/>
              </a:solidFill>
            </a:endParaRPr>
          </a:p>
          <a:p>
            <a:pPr marL="285750" indent="-285750">
              <a:buFont typeface="Arial" panose="020B0604020202020204" pitchFamily="34" charset="0"/>
              <a:buChar char="•"/>
            </a:pPr>
            <a:endParaRPr lang="en-US" b="1" dirty="0">
              <a:solidFill>
                <a:schemeClr val="bg1"/>
              </a:solidFill>
            </a:endParaRPr>
          </a:p>
          <a:p>
            <a:pPr marL="285750" indent="-285750">
              <a:buFont typeface="Arial" panose="020B0604020202020204" pitchFamily="34" charset="0"/>
              <a:buChar char="•"/>
            </a:pPr>
            <a:endParaRPr lang="en-US" b="1" dirty="0">
              <a:solidFill>
                <a:schemeClr val="bg1"/>
              </a:solidFill>
            </a:endParaRPr>
          </a:p>
          <a:p>
            <a:pPr marL="285750" indent="-285750">
              <a:buFont typeface="Arial" panose="020B0604020202020204" pitchFamily="34" charset="0"/>
              <a:buChar char="•"/>
            </a:pPr>
            <a:endParaRPr lang="en-US" b="1" dirty="0">
              <a:solidFill>
                <a:schemeClr val="bg1"/>
              </a:solidFill>
            </a:endParaRPr>
          </a:p>
          <a:p>
            <a:pPr marL="285750" indent="-285750">
              <a:buFont typeface="Arial" panose="020B0604020202020204" pitchFamily="34" charset="0"/>
              <a:buChar char="•"/>
            </a:pPr>
            <a:r>
              <a:rPr lang="en-US" b="1" dirty="0">
                <a:solidFill>
                  <a:schemeClr val="bg1"/>
                </a:solidFill>
              </a:rPr>
              <a:t>Country</a:t>
            </a:r>
            <a:r>
              <a:rPr lang="en-US" dirty="0">
                <a:solidFill>
                  <a:schemeClr val="bg1"/>
                </a:solidFill>
              </a:rPr>
              <a:t>: </a:t>
            </a:r>
            <a:br>
              <a:rPr lang="en-US" dirty="0">
                <a:solidFill>
                  <a:schemeClr val="bg1"/>
                </a:solidFill>
              </a:rPr>
            </a:br>
            <a:r>
              <a:rPr lang="en-US" dirty="0">
                <a:solidFill>
                  <a:schemeClr val="bg1"/>
                </a:solidFill>
              </a:rPr>
              <a:t>Kosovo </a:t>
            </a:r>
            <a:br>
              <a:rPr lang="en-US" dirty="0">
                <a:solidFill>
                  <a:schemeClr val="bg1"/>
                </a:solidFill>
              </a:rPr>
            </a:br>
            <a:endParaRPr lang="en-US" dirty="0">
              <a:solidFill>
                <a:schemeClr val="bg1"/>
              </a:solidFill>
            </a:endParaRPr>
          </a:p>
          <a:p>
            <a:pPr marL="285750" indent="-285750">
              <a:buFont typeface="Arial" panose="020B0604020202020204" pitchFamily="34" charset="0"/>
              <a:buChar char="•"/>
            </a:pPr>
            <a:r>
              <a:rPr lang="en-US" b="1" dirty="0">
                <a:solidFill>
                  <a:schemeClr val="bg1"/>
                </a:solidFill>
              </a:rPr>
              <a:t>Modality: </a:t>
            </a:r>
            <a:br>
              <a:rPr lang="en-US" b="1" dirty="0">
                <a:solidFill>
                  <a:schemeClr val="bg1"/>
                </a:solidFill>
              </a:rPr>
            </a:br>
            <a:r>
              <a:rPr lang="en-US" dirty="0">
                <a:solidFill>
                  <a:schemeClr val="bg1"/>
                </a:solidFill>
              </a:rPr>
              <a:t>Online (Teams) &amp; Mobile</a:t>
            </a:r>
            <a:br>
              <a:rPr lang="en-US" dirty="0">
                <a:solidFill>
                  <a:schemeClr val="bg1"/>
                </a:solidFill>
              </a:rPr>
            </a:br>
            <a:endParaRPr lang="en-US" dirty="0">
              <a:solidFill>
                <a:schemeClr val="bg1"/>
              </a:solidFill>
              <a:cs typeface="Arial"/>
            </a:endParaRPr>
          </a:p>
          <a:p>
            <a:pPr marL="285750" indent="-285750">
              <a:buFont typeface="Arial" panose="020B0604020202020204" pitchFamily="34" charset="0"/>
              <a:buChar char="•"/>
            </a:pPr>
            <a:r>
              <a:rPr lang="en-US" b="1" dirty="0">
                <a:solidFill>
                  <a:schemeClr val="bg1"/>
                </a:solidFill>
              </a:rPr>
              <a:t>Use Case</a:t>
            </a:r>
            <a:r>
              <a:rPr lang="en-US" dirty="0">
                <a:solidFill>
                  <a:schemeClr val="bg1"/>
                </a:solidFill>
              </a:rPr>
              <a:t>: </a:t>
            </a:r>
            <a:br>
              <a:rPr lang="en-US" dirty="0">
                <a:solidFill>
                  <a:schemeClr val="bg1"/>
                </a:solidFill>
              </a:rPr>
            </a:br>
            <a:r>
              <a:rPr lang="en-US" dirty="0">
                <a:solidFill>
                  <a:schemeClr val="bg1"/>
                </a:solidFill>
              </a:rPr>
              <a:t>National Digital Learning Platform (grades 1-9), youth &amp; adolescent skills</a:t>
            </a:r>
            <a:endParaRPr lang="en-US" dirty="0">
              <a:solidFill>
                <a:schemeClr val="bg1"/>
              </a:solidFill>
              <a:cs typeface="Aria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a:solidFill>
                <a:schemeClr val="bg1"/>
              </a:solidFill>
            </a:endParaRPr>
          </a:p>
        </p:txBody>
      </p:sp>
      <p:pic>
        <p:nvPicPr>
          <p:cNvPr id="6" name="Picture 5">
            <a:extLst>
              <a:ext uri="{FF2B5EF4-FFF2-40B4-BE49-F238E27FC236}">
                <a16:creationId xmlns:a16="http://schemas.microsoft.com/office/drawing/2014/main" id="{619C7832-EDDD-4733-8311-96378B9888E3}"/>
              </a:ext>
            </a:extLst>
          </p:cNvPr>
          <p:cNvPicPr>
            <a:picLocks/>
          </p:cNvPicPr>
          <p:nvPr/>
        </p:nvPicPr>
        <p:blipFill rotWithShape="1">
          <a:blip r:embed="rId3"/>
          <a:srcRect b="40900"/>
          <a:stretch/>
        </p:blipFill>
        <p:spPr>
          <a:xfrm>
            <a:off x="163720" y="1531257"/>
            <a:ext cx="3765550" cy="1371601"/>
          </a:xfrm>
          <a:prstGeom prst="rect">
            <a:avLst/>
          </a:prstGeom>
          <a:ln w="38100">
            <a:solidFill>
              <a:schemeClr val="bg1"/>
            </a:solidFill>
            <a:extLst>
              <a:ext uri="{C807C97D-BFC1-408E-A445-0C87EB9F89A2}">
                <ask:lineSketchStyleProps xmlns:ask="http://schemas.microsoft.com/office/drawing/2018/sketchyshapes">
                  <ask:type>
                    <ask:lineSketchNone/>
                  </ask:type>
                </ask:lineSketchStyleProps>
              </a:ext>
            </a:extLst>
          </a:ln>
        </p:spPr>
      </p:pic>
      <p:pic>
        <p:nvPicPr>
          <p:cNvPr id="7" name="Picture 6">
            <a:extLst>
              <a:ext uri="{FF2B5EF4-FFF2-40B4-BE49-F238E27FC236}">
                <a16:creationId xmlns:a16="http://schemas.microsoft.com/office/drawing/2014/main" id="{E830AE34-8060-4652-977F-12D28D4F8D91}"/>
              </a:ext>
            </a:extLst>
          </p:cNvPr>
          <p:cNvPicPr>
            <a:picLocks/>
          </p:cNvPicPr>
          <p:nvPr/>
        </p:nvPicPr>
        <p:blipFill rotWithShape="1">
          <a:blip r:embed="rId4"/>
          <a:srcRect r="-53" b="40191"/>
          <a:stretch/>
        </p:blipFill>
        <p:spPr>
          <a:xfrm>
            <a:off x="4045620" y="1531257"/>
            <a:ext cx="3978135" cy="1371600"/>
          </a:xfrm>
          <a:prstGeom prst="rect">
            <a:avLst/>
          </a:prstGeom>
          <a:ln w="38100">
            <a:solidFill>
              <a:schemeClr val="bg1"/>
            </a:solidFill>
            <a:extLst>
              <a:ext uri="{C807C97D-BFC1-408E-A445-0C87EB9F89A2}">
                <ask:lineSketchStyleProps xmlns:ask="http://schemas.microsoft.com/office/drawing/2018/sketchyshapes">
                  <ask:type>
                    <ask:lineSketchNone/>
                  </ask:type>
                </ask:lineSketchStyleProps>
              </a:ext>
            </a:extLst>
          </a:ln>
        </p:spPr>
      </p:pic>
      <p:pic>
        <p:nvPicPr>
          <p:cNvPr id="8" name="Picture 7">
            <a:extLst>
              <a:ext uri="{FF2B5EF4-FFF2-40B4-BE49-F238E27FC236}">
                <a16:creationId xmlns:a16="http://schemas.microsoft.com/office/drawing/2014/main" id="{27E9D7A5-4453-4B88-8994-0ED3880F4878}"/>
              </a:ext>
            </a:extLst>
          </p:cNvPr>
          <p:cNvPicPr>
            <a:picLocks noChangeAspect="1"/>
          </p:cNvPicPr>
          <p:nvPr/>
        </p:nvPicPr>
        <p:blipFill>
          <a:blip r:embed="rId5"/>
          <a:stretch>
            <a:fillRect/>
          </a:stretch>
        </p:blipFill>
        <p:spPr>
          <a:xfrm>
            <a:off x="8262732" y="1531257"/>
            <a:ext cx="3690291" cy="1371600"/>
          </a:xfrm>
          <a:prstGeom prst="rect">
            <a:avLst/>
          </a:prstGeom>
        </p:spPr>
      </p:pic>
    </p:spTree>
    <p:extLst>
      <p:ext uri="{BB962C8B-B14F-4D97-AF65-F5344CB8AC3E}">
        <p14:creationId xmlns:p14="http://schemas.microsoft.com/office/powerpoint/2010/main" val="2336516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613A3F2-0174-4456-851C-E8B322610632}"/>
              </a:ext>
            </a:extLst>
          </p:cNvPr>
          <p:cNvSpPr/>
          <p:nvPr/>
        </p:nvSpPr>
        <p:spPr>
          <a:xfrm>
            <a:off x="6299199" y="3287485"/>
            <a:ext cx="5116795" cy="3233057"/>
          </a:xfrm>
          <a:prstGeom prst="rect">
            <a:avLst/>
          </a:prstGeom>
          <a:solidFill>
            <a:srgbClr val="3062E5"/>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rgbClr val="FFFFFF"/>
              </a:solidFill>
            </a:endParaRPr>
          </a:p>
        </p:txBody>
      </p:sp>
      <p:sp>
        <p:nvSpPr>
          <p:cNvPr id="7" name="Rectangle 6">
            <a:extLst>
              <a:ext uri="{FF2B5EF4-FFF2-40B4-BE49-F238E27FC236}">
                <a16:creationId xmlns:a16="http://schemas.microsoft.com/office/drawing/2014/main" id="{46D14867-C038-448A-9168-3881CEA3CC1A}"/>
              </a:ext>
            </a:extLst>
          </p:cNvPr>
          <p:cNvSpPr/>
          <p:nvPr/>
        </p:nvSpPr>
        <p:spPr>
          <a:xfrm>
            <a:off x="776005" y="3287486"/>
            <a:ext cx="5116795" cy="3233057"/>
          </a:xfrm>
          <a:prstGeom prst="rect">
            <a:avLst/>
          </a:prstGeom>
          <a:solidFill>
            <a:srgbClr val="4799C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rgbClr val="FFFFFF"/>
              </a:solidFill>
            </a:endParaRPr>
          </a:p>
        </p:txBody>
      </p:sp>
      <p:sp>
        <p:nvSpPr>
          <p:cNvPr id="4" name="TextBox 3">
            <a:extLst>
              <a:ext uri="{FF2B5EF4-FFF2-40B4-BE49-F238E27FC236}">
                <a16:creationId xmlns:a16="http://schemas.microsoft.com/office/drawing/2014/main" id="{9D9AF2C7-FE50-4E34-B044-FC0B17885A6C}"/>
              </a:ext>
            </a:extLst>
          </p:cNvPr>
          <p:cNvSpPr txBox="1"/>
          <p:nvPr/>
        </p:nvSpPr>
        <p:spPr>
          <a:xfrm>
            <a:off x="776006" y="3463472"/>
            <a:ext cx="11415994" cy="3340100"/>
          </a:xfrm>
          <a:prstGeom prst="rect">
            <a:avLst/>
          </a:prstGeom>
          <a:noFill/>
          <a:ln w="9525" cap="rnd">
            <a:noFill/>
            <a:prstDash val="solid"/>
            <a:round/>
          </a:ln>
          <a:extLst>
            <a:ext uri="{909E8E84-426E-40dd-AFC4-6F175D3DCCD1}">
              <a14:hiddenFill xmlns:a14="http://schemas.microsoft.com/office/drawing/2010/main" xmlns="">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2"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b="1">
                <a:solidFill>
                  <a:schemeClr val="bg1"/>
                </a:solidFill>
              </a:rPr>
              <a:t>Country</a:t>
            </a:r>
            <a:r>
              <a:rPr lang="en-US">
                <a:solidFill>
                  <a:schemeClr val="bg1"/>
                </a:solidFill>
              </a:rPr>
              <a:t>: </a:t>
            </a:r>
            <a:br>
              <a:rPr lang="en-US">
                <a:solidFill>
                  <a:schemeClr val="bg1"/>
                </a:solidFill>
              </a:rPr>
            </a:br>
            <a:r>
              <a:rPr lang="en-US">
                <a:solidFill>
                  <a:schemeClr val="bg1"/>
                </a:solidFill>
              </a:rPr>
              <a:t>Timor-Leste </a:t>
            </a:r>
            <a:br>
              <a:rPr lang="en-US">
                <a:solidFill>
                  <a:schemeClr val="bg1"/>
                </a:solidFill>
              </a:rPr>
            </a:br>
            <a:endParaRPr lang="en-US">
              <a:solidFill>
                <a:schemeClr val="bg1"/>
              </a:solidFill>
            </a:endParaRPr>
          </a:p>
          <a:p>
            <a:pPr marL="285750" indent="-285750">
              <a:buFont typeface="Arial" panose="020B0604020202020204" pitchFamily="34" charset="0"/>
              <a:buChar char="•"/>
            </a:pPr>
            <a:r>
              <a:rPr lang="en-US" b="1">
                <a:solidFill>
                  <a:schemeClr val="bg1"/>
                </a:solidFill>
              </a:rPr>
              <a:t>Modality: </a:t>
            </a:r>
            <a:br>
              <a:rPr lang="en-US" b="1">
                <a:solidFill>
                  <a:schemeClr val="bg1"/>
                </a:solidFill>
              </a:rPr>
            </a:br>
            <a:r>
              <a:rPr lang="en-US">
                <a:solidFill>
                  <a:schemeClr val="bg1"/>
                </a:solidFill>
              </a:rPr>
              <a:t>Online &amp; Mobile</a:t>
            </a:r>
            <a:br>
              <a:rPr lang="en-US">
                <a:solidFill>
                  <a:schemeClr val="bg1"/>
                </a:solidFill>
              </a:rPr>
            </a:br>
            <a:endParaRPr lang="en-US">
              <a:solidFill>
                <a:schemeClr val="bg1"/>
              </a:solidFill>
            </a:endParaRPr>
          </a:p>
          <a:p>
            <a:pPr marL="285750" indent="-285750">
              <a:buFont typeface="Arial" panose="020B0604020202020204" pitchFamily="34" charset="0"/>
              <a:buChar char="•"/>
            </a:pPr>
            <a:r>
              <a:rPr lang="en-US" b="1">
                <a:solidFill>
                  <a:schemeClr val="bg1"/>
                </a:solidFill>
              </a:rPr>
              <a:t>Use Case</a:t>
            </a:r>
            <a:r>
              <a:rPr lang="en-US">
                <a:solidFill>
                  <a:schemeClr val="bg1"/>
                </a:solidFill>
              </a:rPr>
              <a:t>: </a:t>
            </a:r>
            <a:br>
              <a:rPr lang="en-US">
                <a:solidFill>
                  <a:schemeClr val="bg1"/>
                </a:solidFill>
              </a:rPr>
            </a:br>
            <a:r>
              <a:rPr lang="en-US">
                <a:solidFill>
                  <a:schemeClr val="bg1"/>
                </a:solidFill>
              </a:rPr>
              <a:t>National Primary &amp; Secondary Digital Learning Platform &amp; Teachers</a:t>
            </a:r>
            <a:endParaRPr lang="en-US">
              <a:solidFill>
                <a:schemeClr val="bg1"/>
              </a:solidFill>
              <a:cs typeface="Arial"/>
            </a:endParaRPr>
          </a:p>
          <a:p>
            <a:pPr marL="285750" indent="-285750">
              <a:buFont typeface="Arial" panose="020B0604020202020204" pitchFamily="34" charset="0"/>
              <a:buChar char="•"/>
            </a:pPr>
            <a:endParaRPr lang="en-US" b="1">
              <a:solidFill>
                <a:schemeClr val="bg1"/>
              </a:solidFill>
            </a:endParaRPr>
          </a:p>
          <a:p>
            <a:pPr marL="285750" indent="-285750">
              <a:buFont typeface="Arial" panose="020B0604020202020204" pitchFamily="34" charset="0"/>
              <a:buChar char="•"/>
            </a:pPr>
            <a:endParaRPr lang="en-US" b="1">
              <a:solidFill>
                <a:schemeClr val="bg1"/>
              </a:solidFill>
            </a:endParaRPr>
          </a:p>
          <a:p>
            <a:pPr marL="285750" indent="-285750">
              <a:buFont typeface="Arial" panose="020B0604020202020204" pitchFamily="34" charset="0"/>
              <a:buChar char="•"/>
            </a:pPr>
            <a:r>
              <a:rPr lang="en-US" b="1">
                <a:solidFill>
                  <a:schemeClr val="bg1"/>
                </a:solidFill>
              </a:rPr>
              <a:t>Country</a:t>
            </a:r>
            <a:r>
              <a:rPr lang="en-US">
                <a:solidFill>
                  <a:schemeClr val="bg1"/>
                </a:solidFill>
              </a:rPr>
              <a:t>: </a:t>
            </a:r>
            <a:br>
              <a:rPr lang="en-US">
                <a:solidFill>
                  <a:schemeClr val="bg1"/>
                </a:solidFill>
              </a:rPr>
            </a:br>
            <a:r>
              <a:rPr lang="en-US">
                <a:solidFill>
                  <a:schemeClr val="bg1"/>
                </a:solidFill>
              </a:rPr>
              <a:t>Puntland </a:t>
            </a:r>
            <a:br>
              <a:rPr lang="en-US">
                <a:solidFill>
                  <a:schemeClr val="bg1"/>
                </a:solidFill>
              </a:rPr>
            </a:br>
            <a:endParaRPr lang="en-US">
              <a:solidFill>
                <a:schemeClr val="bg1"/>
              </a:solidFill>
            </a:endParaRPr>
          </a:p>
          <a:p>
            <a:pPr marL="285750" indent="-285750">
              <a:buFont typeface="Arial" panose="020B0604020202020204" pitchFamily="34" charset="0"/>
              <a:buChar char="•"/>
            </a:pPr>
            <a:r>
              <a:rPr lang="en-US" b="1">
                <a:solidFill>
                  <a:schemeClr val="bg1"/>
                </a:solidFill>
              </a:rPr>
              <a:t>Modality: </a:t>
            </a:r>
            <a:br>
              <a:rPr lang="en-US" b="1">
                <a:solidFill>
                  <a:schemeClr val="bg1"/>
                </a:solidFill>
              </a:rPr>
            </a:br>
            <a:r>
              <a:rPr lang="en-US">
                <a:solidFill>
                  <a:schemeClr val="bg1"/>
                </a:solidFill>
              </a:rPr>
              <a:t>Mobile first</a:t>
            </a:r>
            <a:br>
              <a:rPr lang="en-US">
                <a:solidFill>
                  <a:schemeClr val="bg1"/>
                </a:solidFill>
              </a:rPr>
            </a:br>
            <a:endParaRPr lang="en-US">
              <a:solidFill>
                <a:schemeClr val="bg1"/>
              </a:solidFill>
            </a:endParaRPr>
          </a:p>
          <a:p>
            <a:pPr marL="285750" indent="-285750">
              <a:buFont typeface="Arial" panose="020B0604020202020204" pitchFamily="34" charset="0"/>
              <a:buChar char="•"/>
            </a:pPr>
            <a:r>
              <a:rPr lang="en-US" b="1">
                <a:solidFill>
                  <a:schemeClr val="bg1"/>
                </a:solidFill>
              </a:rPr>
              <a:t>Use Case</a:t>
            </a:r>
            <a:r>
              <a:rPr lang="en-US">
                <a:solidFill>
                  <a:schemeClr val="bg1"/>
                </a:solidFill>
              </a:rPr>
              <a:t>: </a:t>
            </a:r>
            <a:br>
              <a:rPr lang="en-US">
                <a:solidFill>
                  <a:schemeClr val="bg1"/>
                </a:solidFill>
              </a:rPr>
            </a:br>
            <a:r>
              <a:rPr lang="en-US">
                <a:solidFill>
                  <a:schemeClr val="bg1"/>
                </a:solidFill>
              </a:rPr>
              <a:t>National Secondary Digital Learning Platform 									</a:t>
            </a:r>
            <a:endParaRPr lang="en-US">
              <a:solidFill>
                <a:schemeClr val="bg1"/>
              </a:solidFill>
              <a:cs typeface="Arial"/>
            </a:endParaRPr>
          </a:p>
          <a:p>
            <a:pPr marL="285750" indent="-285750">
              <a:buFont typeface="Arial" panose="020B0604020202020204" pitchFamily="34" charset="0"/>
              <a:buChar char="•"/>
            </a:pPr>
            <a:endParaRPr lang="en-US">
              <a:solidFill>
                <a:schemeClr val="bg1"/>
              </a:solidFill>
            </a:endParaRPr>
          </a:p>
        </p:txBody>
      </p:sp>
      <p:pic>
        <p:nvPicPr>
          <p:cNvPr id="9" name="Picture 8">
            <a:extLst>
              <a:ext uri="{FF2B5EF4-FFF2-40B4-BE49-F238E27FC236}">
                <a16:creationId xmlns:a16="http://schemas.microsoft.com/office/drawing/2014/main" id="{9D51EE6F-CF5F-429D-A4BF-61C9AACC3425}"/>
              </a:ext>
            </a:extLst>
          </p:cNvPr>
          <p:cNvPicPr>
            <a:picLocks/>
          </p:cNvPicPr>
          <p:nvPr/>
        </p:nvPicPr>
        <p:blipFill rotWithShape="1">
          <a:blip r:embed="rId3"/>
          <a:srcRect r="1145" b="41966"/>
          <a:stretch/>
        </p:blipFill>
        <p:spPr>
          <a:xfrm>
            <a:off x="6299199" y="1410583"/>
            <a:ext cx="5116794" cy="1463040"/>
          </a:xfrm>
          <a:prstGeom prst="rect">
            <a:avLst/>
          </a:prstGeom>
          <a:ln w="38100">
            <a:solidFill>
              <a:schemeClr val="bg1"/>
            </a:solidFill>
            <a:extLst>
              <a:ext uri="{C807C97D-BFC1-408E-A445-0C87EB9F89A2}">
                <ask:lineSketchStyleProps xmlns:ask="http://schemas.microsoft.com/office/drawing/2018/sketchyshapes">
                  <ask:type>
                    <ask:lineSketchNone/>
                  </ask:type>
                </ask:lineSketchStyleProps>
              </a:ext>
            </a:extLst>
          </a:ln>
        </p:spPr>
      </p:pic>
      <p:pic>
        <p:nvPicPr>
          <p:cNvPr id="11" name="Picture 10">
            <a:extLst>
              <a:ext uri="{FF2B5EF4-FFF2-40B4-BE49-F238E27FC236}">
                <a16:creationId xmlns:a16="http://schemas.microsoft.com/office/drawing/2014/main" id="{5FCF715E-6703-49CA-8209-0DBA7AA646F1}"/>
              </a:ext>
            </a:extLst>
          </p:cNvPr>
          <p:cNvPicPr>
            <a:picLocks noChangeAspect="1"/>
          </p:cNvPicPr>
          <p:nvPr/>
        </p:nvPicPr>
        <p:blipFill>
          <a:blip r:embed="rId4"/>
          <a:stretch>
            <a:fillRect/>
          </a:stretch>
        </p:blipFill>
        <p:spPr>
          <a:xfrm>
            <a:off x="776006" y="1410583"/>
            <a:ext cx="5116794" cy="1455587"/>
          </a:xfrm>
          <a:prstGeom prst="rect">
            <a:avLst/>
          </a:prstGeom>
        </p:spPr>
      </p:pic>
      <p:sp>
        <p:nvSpPr>
          <p:cNvPr id="10" name="Title 1">
            <a:extLst>
              <a:ext uri="{FF2B5EF4-FFF2-40B4-BE49-F238E27FC236}">
                <a16:creationId xmlns:a16="http://schemas.microsoft.com/office/drawing/2014/main" id="{6CC30706-952D-4A29-B5D7-686E8CDAA692}"/>
              </a:ext>
            </a:extLst>
          </p:cNvPr>
          <p:cNvSpPr txBox="1">
            <a:spLocks/>
          </p:cNvSpPr>
          <p:nvPr/>
        </p:nvSpPr>
        <p:spPr>
          <a:xfrm>
            <a:off x="0" y="-1"/>
            <a:ext cx="12192000" cy="1000553"/>
          </a:xfrm>
          <a:prstGeom prst="rect">
            <a:avLst/>
          </a:prstGeom>
          <a:solidFill>
            <a:srgbClr val="00A4E1"/>
          </a:solidFill>
        </p:spPr>
        <p:txBody>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a:lstStyle>
          <a:p>
            <a:pPr marL="342900">
              <a:lnSpc>
                <a:spcPct val="100000"/>
              </a:lnSpc>
            </a:pPr>
            <a:endParaRPr lang="en-US" sz="500" b="1">
              <a:solidFill>
                <a:schemeClr val="bg1"/>
              </a:solidFill>
            </a:endParaRPr>
          </a:p>
          <a:p>
            <a:pPr marL="342900">
              <a:lnSpc>
                <a:spcPct val="100000"/>
              </a:lnSpc>
            </a:pPr>
            <a:r>
              <a:rPr lang="en-US" b="1">
                <a:solidFill>
                  <a:schemeClr val="bg1"/>
                </a:solidFill>
              </a:rPr>
              <a:t>Used as the national/complementary digital learning platform and in multiple modalities </a:t>
            </a:r>
          </a:p>
        </p:txBody>
      </p:sp>
    </p:spTree>
    <p:extLst>
      <p:ext uri="{BB962C8B-B14F-4D97-AF65-F5344CB8AC3E}">
        <p14:creationId xmlns:p14="http://schemas.microsoft.com/office/powerpoint/2010/main" val="3379372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ID" val="CsHcQza3"/>
  <p:tag name="EE4P_STYLE_NAME" val="Unicef Grid 16: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t2xzywcGS22YyYZ8TyMII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TF4PY.LgT_ufoFK42KRJ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CoaQ3DSrRrK1W3vUBtp2.A"/>
</p:tagLst>
</file>

<file path=ppt/tags/tag1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KfRiC22jRUuX1cLw3xbh3g"/>
</p:tagLst>
</file>

<file path=ppt/tags/tag2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ViE1c0xzQmqMHYxxl3V3e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3o8ljGwhRCuhcGeEH5ZEq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Kog2bQpgpFtCp9_7hID01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Kog2bQpgpFtCp9_7hID01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3o8ljGwhRCuhcGeEH5ZEqQ"/>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2xzywcGS22YyYZ8TyMII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CoaQ3DSrRrK1W3vUBtp2.A"/>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F4PY.LgT_ufoFK42KRJ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KfRiC22jRUuX1cLw3xbh3g"/>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Unicef Grid 16:9">
  <a:themeElements>
    <a:clrScheme name="Custom 2">
      <a:dk1>
        <a:srgbClr val="77777A"/>
      </a:dk1>
      <a:lt1>
        <a:sysClr val="window" lastClr="FFFFFF"/>
      </a:lt1>
      <a:dk2>
        <a:srgbClr val="00AEEF"/>
      </a:dk2>
      <a:lt2>
        <a:srgbClr val="F2F2F2"/>
      </a:lt2>
      <a:accent1>
        <a:srgbClr val="005674"/>
      </a:accent1>
      <a:accent2>
        <a:srgbClr val="0082B0"/>
      </a:accent2>
      <a:accent3>
        <a:srgbClr val="FFC20E"/>
      </a:accent3>
      <a:accent4>
        <a:srgbClr val="19C3FF"/>
      </a:accent4>
      <a:accent5>
        <a:srgbClr val="D8D1CA"/>
      </a:accent5>
      <a:accent6>
        <a:srgbClr val="80BD41"/>
      </a:accent6>
      <a:hlink>
        <a:srgbClr val="374EA2"/>
      </a:hlink>
      <a:folHlink>
        <a:srgbClr val="6B1E7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AEEF"/>
        </a:solidFill>
        <a:ln w="9525" cap="rnd" cmpd="sng" algn="ctr">
          <a:solidFill>
            <a:srgbClr val="00AEEF"/>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cmpd="sng" algn="ctr">
          <a:solidFill>
            <a:srgbClr val="77777A"/>
          </a:solidFill>
          <a:prstDash val="solid"/>
          <a:round/>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xmlns="">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77777A"/>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Unicef Grid 16:9">
  <a:themeElements>
    <a:clrScheme name="Custom 2">
      <a:dk1>
        <a:srgbClr val="77777A"/>
      </a:dk1>
      <a:lt1>
        <a:sysClr val="window" lastClr="FFFFFF"/>
      </a:lt1>
      <a:dk2>
        <a:srgbClr val="00AEEF"/>
      </a:dk2>
      <a:lt2>
        <a:srgbClr val="F2F2F2"/>
      </a:lt2>
      <a:accent1>
        <a:srgbClr val="005674"/>
      </a:accent1>
      <a:accent2>
        <a:srgbClr val="0082B0"/>
      </a:accent2>
      <a:accent3>
        <a:srgbClr val="FFC20E"/>
      </a:accent3>
      <a:accent4>
        <a:srgbClr val="19C3FF"/>
      </a:accent4>
      <a:accent5>
        <a:srgbClr val="D8D1CA"/>
      </a:accent5>
      <a:accent6>
        <a:srgbClr val="80BD41"/>
      </a:accent6>
      <a:hlink>
        <a:srgbClr val="374EA2"/>
      </a:hlink>
      <a:folHlink>
        <a:srgbClr val="6B1E7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AEEF"/>
        </a:solidFill>
        <a:ln w="9525" cap="rnd" cmpd="sng" algn="ctr">
          <a:solidFill>
            <a:srgbClr val="00AEEF"/>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cmpd="sng" algn="ctr">
          <a:solidFill>
            <a:srgbClr val="77777A"/>
          </a:solidFill>
          <a:prstDash val="solid"/>
          <a:round/>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77777A"/>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pe:Receivers xmlns:spe="http://schemas.microsoft.com/sharepoint/events"/>
</file>

<file path=customXml/item2.xml><?xml version="1.0" encoding="utf-8"?>
<p:properties xmlns:p="http://schemas.microsoft.com/office/2006/metadata/properties" xmlns:xsi="http://www.w3.org/2001/XMLSchema-instance" xmlns:pc="http://schemas.microsoft.com/office/infopath/2007/PartnerControls">
  <documentManagement>
    <TaxCatchAll xmlns="ca283e0b-db31-4043-a2ef-b80661bf084a">
      <Value>100</Value>
      <Value>8</Value>
      <Value>2</Value>
    </TaxCatchAll>
    <ga975397408f43e4b84ec8e5a598e523 xmlns="ca283e0b-db31-4043-a2ef-b80661bf084a">
      <Terms xmlns="http://schemas.microsoft.com/office/infopath/2007/PartnerControls">
        <TermInfo xmlns="http://schemas.microsoft.com/office/infopath/2007/PartnerControls">
          <TermName xmlns="http://schemas.microsoft.com/office/infopath/2007/PartnerControls">Programme Division-456D</TermName>
          <TermId xmlns="http://schemas.microsoft.com/office/infopath/2007/PartnerControls">b599cc08-53d0-4ecf-afce-40bdcdf910e2</TermId>
        </TermInfo>
      </Terms>
    </ga975397408f43e4b84ec8e5a598e523>
    <k8c968e8c72a4eda96b7e8fdbe192be2 xmlns="ca283e0b-db31-4043-a2ef-b80661bf084a">
      <Terms xmlns="http://schemas.microsoft.com/office/infopath/2007/PartnerControls"/>
    </k8c968e8c72a4eda96b7e8fdbe192be2>
    <DateTransmittedEmail xmlns="ca283e0b-db31-4043-a2ef-b80661bf084a" xsi:nil="true"/>
    <ContentStatus xmlns="ca283e0b-db31-4043-a2ef-b80661bf084a" xsi:nil="true"/>
    <SenderEmail xmlns="ca283e0b-db31-4043-a2ef-b80661bf084a" xsi:nil="true"/>
    <IconOverlay xmlns="http://schemas.microsoft.com/sharepoint/v4" xsi:nil="true"/>
    <ContentLanguage xmlns="ca283e0b-db31-4043-a2ef-b80661bf084a">English</ContentLanguage>
    <h6a71f3e574e4344bc34f3fc9dd20054 xmlns="ca283e0b-db31-4043-a2ef-b80661bf084a">
      <Terms xmlns="http://schemas.microsoft.com/office/infopath/2007/PartnerControls">
        <TermInfo xmlns="http://schemas.microsoft.com/office/infopath/2007/PartnerControls">
          <TermName xmlns="http://schemas.microsoft.com/office/infopath/2007/PartnerControls">Learning passports</TermName>
          <TermId xmlns="http://schemas.microsoft.com/office/infopath/2007/PartnerControls">63b64e7d-658c-46a5-abb7-5def8b72a6fc</TermId>
        </TermInfo>
      </Terms>
    </h6a71f3e574e4344bc34f3fc9dd20054>
    <CategoryDescription xmlns="http://schemas.microsoft.com/sharepoint.v3" xsi:nil="true"/>
    <RecipientsEmail xmlns="ca283e0b-db31-4043-a2ef-b80661bf084a" xsi:nil="true"/>
    <mda26ace941f4791a7314a339fee829c xmlns="ca283e0b-db31-4043-a2ef-b80661bf084a">
      <Terms xmlns="http://schemas.microsoft.com/office/infopath/2007/PartnerControls">
        <TermInfo xmlns="http://schemas.microsoft.com/office/infopath/2007/PartnerControls">
          <TermName xmlns="http://schemas.microsoft.com/office/infopath/2007/PartnerControls">Presentations (non-technical)</TermName>
          <TermId xmlns="http://schemas.microsoft.com/office/infopath/2007/PartnerControls">de93adcf-8493-4ce5-bec2-2d9ffa65a82d</TermId>
        </TermInfo>
      </Terms>
    </mda26ace941f4791a7314a339fee829c>
    <TaxKeywordTaxHTField xmlns="ff52be21-d5d2-427a-9e11-9d459aebcfaa">
      <Terms xmlns="http://schemas.microsoft.com/office/infopath/2007/PartnerControls"/>
    </TaxKeywordTaxHTField>
    <WrittenBy xmlns="ca283e0b-db31-4043-a2ef-b80661bf084a">
      <UserInfo>
        <DisplayName/>
        <AccountId xsi:nil="true"/>
        <AccountType/>
      </UserInfo>
    </WrittenBy>
    <SharedWithUsers xmlns="ff52be21-d5d2-427a-9e11-9d459aebcfaa">
      <UserInfo>
        <DisplayName>Nathalie Daries</DisplayName>
        <AccountId>286</AccountId>
        <AccountType/>
      </UserInfo>
      <UserInfo>
        <DisplayName>Shiraz Chakera</DisplayName>
        <AccountId>69</AccountId>
        <AccountType/>
      </UserInfo>
      <UserInfo>
        <DisplayName>Guillaume Michels</DisplayName>
        <AccountId>280</AccountId>
        <AccountType/>
      </UserInfo>
      <UserInfo>
        <DisplayName>Mac Glovinsky</DisplayName>
        <AccountId>145</AccountId>
        <AccountType/>
      </UserInfo>
      <UserInfo>
        <DisplayName>Robert Jenkins</DisplayName>
        <AccountId>50</AccountId>
        <AccountType/>
      </UserInfo>
    </SharedWithUsers>
    <j169e817e0ee4eb8974e6fc4a2762909 xmlns="ca283e0b-db31-4043-a2ef-b80661bf084a">
      <Terms xmlns="http://schemas.microsoft.com/office/infopath/2007/PartnerControls"/>
    </j169e817e0ee4eb8974e6fc4a2762909>
    <j048a4f9aaad4a8990a1d5e5f53cb451 xmlns="ca283e0b-db31-4043-a2ef-b80661bf084a">
      <Terms xmlns="http://schemas.microsoft.com/office/infopath/2007/PartnerControls"/>
    </j048a4f9aaad4a8990a1d5e5f53cb451>
    <Resources xmlns="85da5562-c2b2-4553-8296-e6d5eebaa55d">Presentations</Resources>
    <TaxCatchAllLabel xmlns="ca283e0b-db31-4043-a2ef-b80661bf084a"/>
    <Workstream xmlns="85da5562-c2b2-4553-8296-e6d5eebaa55d">Comms Materials</Workstream>
  </documentManagement>
</p:properties>
</file>

<file path=customXml/item3.xml><?xml version="1.0" encoding="utf-8"?>
<?mso-contentType ?>
<SharedContentType xmlns="Microsoft.SharePoint.Taxonomy.ContentTypeSync" SourceId="73f51738-d318-4883-9d64-4f0bd0ccc55e" ContentTypeId="0x0101009BA85F8052A6DA4FA3E31FF9F74C6970" PreviousValue="false"/>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customXsn xmlns="http://schemas.microsoft.com/office/2006/metadata/customXsn">
  <xsnLocation/>
  <cached>True</cached>
  <openByDefault>True</openByDefault>
  <xsnScope/>
</customXsn>
</file>

<file path=customXml/item6.xml><?xml version="1.0" encoding="utf-8"?>
<ct:contentTypeSchema xmlns:ct="http://schemas.microsoft.com/office/2006/metadata/contentType" xmlns:ma="http://schemas.microsoft.com/office/2006/metadata/properties/metaAttributes" ct:_="" ma:_="" ma:contentTypeName="UNICEF Document" ma:contentTypeID="0x0101009BA85F8052A6DA4FA3E31FF9F74C697000D0B43AA1BF95BE45BB3994B93DC3CE89" ma:contentTypeVersion="54" ma:contentTypeDescription="" ma:contentTypeScope="" ma:versionID="2f00131369694bce004c840550444d87">
  <xsd:schema xmlns:xsd="http://www.w3.org/2001/XMLSchema" xmlns:xs="http://www.w3.org/2001/XMLSchema" xmlns:p="http://schemas.microsoft.com/office/2006/metadata/properties" xmlns:ns1="http://schemas.microsoft.com/sharepoint/v3" xmlns:ns2="ca283e0b-db31-4043-a2ef-b80661bf084a" xmlns:ns3="85da5562-c2b2-4553-8296-e6d5eebaa55d" xmlns:ns4="ff52be21-d5d2-427a-9e11-9d459aebcfaa" xmlns:ns5="http://schemas.microsoft.com/sharepoint.v3" xmlns:ns6="http://schemas.microsoft.com/sharepoint/v4" targetNamespace="http://schemas.microsoft.com/office/2006/metadata/properties" ma:root="true" ma:fieldsID="3be6f36896b7f162bce85b8ae5a83898" ns1:_="" ns2:_="" ns3:_="" ns4:_="" ns5:_="" ns6:_="">
    <xsd:import namespace="http://schemas.microsoft.com/sharepoint/v3"/>
    <xsd:import namespace="ca283e0b-db31-4043-a2ef-b80661bf084a"/>
    <xsd:import namespace="85da5562-c2b2-4553-8296-e6d5eebaa55d"/>
    <xsd:import namespace="ff52be21-d5d2-427a-9e11-9d459aebcfaa"/>
    <xsd:import namespace="http://schemas.microsoft.com/sharepoint.v3"/>
    <xsd:import namespace="http://schemas.microsoft.com/sharepoint/v4"/>
    <xsd:element name="properties">
      <xsd:complexType>
        <xsd:sequence>
          <xsd:element name="documentManagement">
            <xsd:complexType>
              <xsd:all>
                <xsd:element ref="ns3:Resources" minOccurs="0"/>
                <xsd:element ref="ns3:Workstream" minOccurs="0"/>
                <xsd:element ref="ns2:WrittenBy" minOccurs="0"/>
                <xsd:element ref="ns2:ContentLanguage" minOccurs="0"/>
                <xsd:element ref="ns5:CategoryDescription" minOccurs="0"/>
                <xsd:element ref="ns2:ContentStatus" minOccurs="0"/>
                <xsd:element ref="ns2:k8c968e8c72a4eda96b7e8fdbe192be2" minOccurs="0"/>
                <xsd:element ref="ns2:ga975397408f43e4b84ec8e5a598e523" minOccurs="0"/>
                <xsd:element ref="ns2:mda26ace941f4791a7314a339fee829c" minOccurs="0"/>
                <xsd:element ref="ns2:TaxCatchAllLabel" minOccurs="0"/>
                <xsd:element ref="ns2:TaxCatchAll" minOccurs="0"/>
                <xsd:element ref="ns2:h6a71f3e574e4344bc34f3fc9dd20054" minOccurs="0"/>
                <xsd:element ref="ns2:DateTransmittedEmail" minOccurs="0"/>
                <xsd:element ref="ns2:j169e817e0ee4eb8974e6fc4a2762909" minOccurs="0"/>
                <xsd:element ref="ns2:j048a4f9aaad4a8990a1d5e5f53cb451" minOccurs="0"/>
                <xsd:element ref="ns3:MediaServiceMetadata" minOccurs="0"/>
                <xsd:element ref="ns3:MediaServiceFastMetadata" minOccurs="0"/>
                <xsd:element ref="ns3:MediaServiceAutoKeyPoints" minOccurs="0"/>
                <xsd:element ref="ns3:MediaServiceKeyPoints" minOccurs="0"/>
                <xsd:element ref="ns2:SenderEmail" minOccurs="0"/>
                <xsd:element ref="ns2:RecipientsEmail" minOccurs="0"/>
                <xsd:element ref="ns4:SharedWithUsers" minOccurs="0"/>
                <xsd:element ref="ns4:SharedWithDetails" minOccurs="0"/>
                <xsd:element ref="ns6:IconOverlay" minOccurs="0"/>
                <xsd:element ref="ns1:_vti_ItemDeclaredRecord" minOccurs="0"/>
                <xsd:element ref="ns1:_vti_ItemHoldRecordStatus" minOccurs="0"/>
                <xsd:element ref="ns4:TaxKeywordTaxHTField" minOccurs="0"/>
                <xsd:element ref="ns3:MediaServiceAutoTags" minOccurs="0"/>
                <xsd:element ref="ns3:MediaServiceGenerationTime" minOccurs="0"/>
                <xsd:element ref="ns3:MediaServiceEventHashCode" minOccurs="0"/>
                <xsd:element ref="ns3:MediaServiceOCR"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vti_ItemDeclaredRecord" ma:index="40" nillable="true" ma:displayName="Declared Record" ma:hidden="true" ma:internalName="_vti_ItemDeclaredRecord" ma:readOnly="true">
      <xsd:simpleType>
        <xsd:restriction base="dms:DateTime"/>
      </xsd:simpleType>
    </xsd:element>
    <xsd:element name="_vti_ItemHoldRecordStatus" ma:index="41" nillable="true" ma:displayName="Hold and Record Status" ma:decimals="0" ma:description="" ma:hidden="true" ma:indexed="true" ma:internalName="_vti_ItemHoldRecordStatu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a283e0b-db31-4043-a2ef-b80661bf084a" elementFormDefault="qualified">
    <xsd:import namespace="http://schemas.microsoft.com/office/2006/documentManagement/types"/>
    <xsd:import namespace="http://schemas.microsoft.com/office/infopath/2007/PartnerControls"/>
    <xsd:element name="WrittenBy" ma:index="7" nillable="true" ma:displayName="Written By" ma:description="‘Written By’ is auto-completed with the name of the uploader, but can be edited if you are uploading on behalf of someone else." ma:list="UserInfo" ma:SharePointGroup="0" ma:internalName="WrittenBy"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ontentLanguage" ma:index="8" nillable="true" ma:displayName="Content Language *" ma:default="English" ma:format="RadioButtons" ma:indexed="true" ma:internalName="ContentLanguage" ma:readOnly="false">
      <xsd:simpleType>
        <xsd:restriction base="dms:Choice">
          <xsd:enumeration value="English"/>
          <xsd:enumeration value="French"/>
          <xsd:enumeration value="Spanish"/>
          <xsd:enumeration value="Russian"/>
          <xsd:enumeration value="Chinese"/>
          <xsd:enumeration value="Arabic"/>
          <xsd:enumeration value="other"/>
        </xsd:restriction>
      </xsd:simpleType>
    </xsd:element>
    <xsd:element name="ContentStatus" ma:index="11" nillable="true" ma:displayName="Content Status" ma:description="Optional column to indicate document status: no status, draft, final or expired.​" ma:format="RadioButtons" ma:internalName="ContentStatus" ma:readOnly="false">
      <xsd:simpleType>
        <xsd:restriction base="dms:Choice">
          <xsd:enumeration value="­"/>
          <xsd:enumeration value="Draft"/>
          <xsd:enumeration value="Final"/>
          <xsd:enumeration value="Expired"/>
        </xsd:restriction>
      </xsd:simpleType>
    </xsd:element>
    <xsd:element name="k8c968e8c72a4eda96b7e8fdbe192be2" ma:index="12" nillable="true" ma:taxonomy="true" ma:internalName="k8c968e8c72a4eda96b7e8fdbe192be2" ma:taxonomyFieldName="GeographicScope" ma:displayName="Geographic Scope" ma:readOnly="false" ma:default="" ma:fieldId="{48c968e8-c72a-4eda-96b7-e8fdbe192be2}" ma:taxonomyMulti="true" ma:sspId="73f51738-d318-4883-9d64-4f0bd0ccc55e" ma:termSetId="0a00fedf-defc-4fe3-a3bf-9929b29a638e" ma:anchorId="00000000-0000-0000-0000-000000000000" ma:open="false" ma:isKeyword="false">
      <xsd:complexType>
        <xsd:sequence>
          <xsd:element ref="pc:Terms" minOccurs="0" maxOccurs="1"/>
        </xsd:sequence>
      </xsd:complexType>
    </xsd:element>
    <xsd:element name="ga975397408f43e4b84ec8e5a598e523" ma:index="16" nillable="true" ma:taxonomy="true" ma:internalName="ga975397408f43e4b84ec8e5a598e523" ma:taxonomyFieldName="OfficeDivision" ma:displayName="Office/Division *" ma:readOnly="false" ma:default="1033;#Programme Division-456D|b599cc08-53d0-4ecf-afce-40bdcdf910e2" ma:fieldId="{0a975397-408f-43e4-b84e-c8e5a598e523}" ma:sspId="73f51738-d318-4883-9d64-4f0bd0ccc55e" ma:termSetId="1761a25e-44f4-4213-964a-f96c515e12cb" ma:anchorId="00000000-0000-0000-0000-000000000000" ma:open="false" ma:isKeyword="false">
      <xsd:complexType>
        <xsd:sequence>
          <xsd:element ref="pc:Terms" minOccurs="0" maxOccurs="1"/>
        </xsd:sequence>
      </xsd:complexType>
    </xsd:element>
    <xsd:element name="mda26ace941f4791a7314a339fee829c" ma:index="17" nillable="true" ma:taxonomy="true" ma:internalName="mda26ace941f4791a7314a339fee829c" ma:taxonomyFieldName="DocumentType" ma:displayName="Document Type *" ma:indexed="true" ma:readOnly="false" ma:default="" ma:fieldId="{6da26ace-941f-4791-a731-4a339fee829c}" ma:sspId="73f51738-d318-4883-9d64-4f0bd0ccc55e" ma:termSetId="f93b6877-8902-4378-8587-5ec85f36ead9" ma:anchorId="00000000-0000-0000-0000-000000000000" ma:open="false" ma:isKeyword="false">
      <xsd:complexType>
        <xsd:sequence>
          <xsd:element ref="pc:Terms" minOccurs="0" maxOccurs="1"/>
        </xsd:sequence>
      </xsd:complexType>
    </xsd:element>
    <xsd:element name="TaxCatchAllLabel" ma:index="18" nillable="true" ma:displayName="Taxonomy Catch All Column1" ma:hidden="true" ma:list="{16259cc5-91c1-4464-b36d-189ed8762d2c}" ma:internalName="TaxCatchAllLabel" ma:readOnly="false" ma:showField="CatchAllDataLabel" ma:web="ff52be21-d5d2-427a-9e11-9d459aebcfaa">
      <xsd:complexType>
        <xsd:complexContent>
          <xsd:extension base="dms:MultiChoiceLookup">
            <xsd:sequence>
              <xsd:element name="Value" type="dms:Lookup" maxOccurs="unbounded" minOccurs="0" nillable="true"/>
            </xsd:sequence>
          </xsd:extension>
        </xsd:complexContent>
      </xsd:complexType>
    </xsd:element>
    <xsd:element name="TaxCatchAll" ma:index="22" nillable="true" ma:displayName="Taxonomy Catch All Column" ma:hidden="true" ma:list="{16259cc5-91c1-4464-b36d-189ed8762d2c}" ma:internalName="TaxCatchAll" ma:readOnly="false" ma:showField="CatchAllData" ma:web="ff52be21-d5d2-427a-9e11-9d459aebcfaa">
      <xsd:complexType>
        <xsd:complexContent>
          <xsd:extension base="dms:MultiChoiceLookup">
            <xsd:sequence>
              <xsd:element name="Value" type="dms:Lookup" maxOccurs="unbounded" minOccurs="0" nillable="true"/>
            </xsd:sequence>
          </xsd:extension>
        </xsd:complexContent>
      </xsd:complexType>
    </xsd:element>
    <xsd:element name="h6a71f3e574e4344bc34f3fc9dd20054" ma:index="23" nillable="true" ma:taxonomy="true" ma:internalName="h6a71f3e574e4344bc34f3fc9dd20054" ma:taxonomyFieldName="Topic" ma:displayName="Topic *" ma:readOnly="false" ma:default="" ma:fieldId="{16a71f3e-574e-4344-bc34-f3fc9dd20054}" ma:taxonomyMulti="true" ma:sspId="73f51738-d318-4883-9d64-4f0bd0ccc55e" ma:termSetId="9561e0e6-71cf-4f3c-87c3-08a6b5d907e8" ma:anchorId="00000000-0000-0000-0000-000000000000" ma:open="false" ma:isKeyword="false">
      <xsd:complexType>
        <xsd:sequence>
          <xsd:element ref="pc:Terms" minOccurs="0" maxOccurs="1"/>
        </xsd:sequence>
      </xsd:complexType>
    </xsd:element>
    <xsd:element name="DateTransmittedEmail" ma:index="25" nillable="true" ma:displayName="Date transmitted (email)" ma:format="DateTime" ma:hidden="true" ma:internalName="DateTransmittedEmail" ma:readOnly="false">
      <xsd:simpleType>
        <xsd:restriction base="dms:DateTime"/>
      </xsd:simpleType>
    </xsd:element>
    <xsd:element name="j169e817e0ee4eb8974e6fc4a2762909" ma:index="26" nillable="true" ma:taxonomy="true" ma:internalName="j169e817e0ee4eb8974e6fc4a2762909" ma:taxonomyFieldName="CriticalForLongTermRetention" ma:displayName="Critical for long-term retention?" ma:readOnly="false" ma:default="" ma:fieldId="{3169e817-e0ee-4eb8-974e-6fc4a2762909}" ma:sspId="73f51738-d318-4883-9d64-4f0bd0ccc55e" ma:termSetId="59f85175-3dbf-4592-9c1d-453af9da4e8b" ma:anchorId="00000000-0000-0000-0000-000000000000" ma:open="false" ma:isKeyword="false">
      <xsd:complexType>
        <xsd:sequence>
          <xsd:element ref="pc:Terms" minOccurs="0" maxOccurs="1"/>
        </xsd:sequence>
      </xsd:complexType>
    </xsd:element>
    <xsd:element name="j048a4f9aaad4a8990a1d5e5f53cb451" ma:index="28" nillable="true" ma:taxonomy="true" ma:internalName="j048a4f9aaad4a8990a1d5e5f53cb451" ma:taxonomyFieldName="SystemDTAC" ma:displayName="System-DT-AC" ma:default="" ma:fieldId="{3048a4f9-aaad-4a89-90a1-d5e5f53cb451}" ma:sspId="73f51738-d318-4883-9d64-4f0bd0ccc55e" ma:termSetId="1e3381f3-a35f-499a-9a3c-017e5423e02a" ma:anchorId="00000000-0000-0000-0000-000000000000" ma:open="false" ma:isKeyword="false">
      <xsd:complexType>
        <xsd:sequence>
          <xsd:element ref="pc:Terms" minOccurs="0" maxOccurs="1"/>
        </xsd:sequence>
      </xsd:complexType>
    </xsd:element>
    <xsd:element name="SenderEmail" ma:index="35" nillable="true" ma:displayName="Sender (email)" ma:hidden="true" ma:internalName="SenderEmail" ma:readOnly="false">
      <xsd:simpleType>
        <xsd:restriction base="dms:Text">
          <xsd:maxLength value="255"/>
        </xsd:restriction>
      </xsd:simpleType>
    </xsd:element>
    <xsd:element name="RecipientsEmail" ma:index="36" nillable="true" ma:displayName="Recipients (email)" ma:hidden="true" ma:internalName="RecipientsEmail"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5da5562-c2b2-4553-8296-e6d5eebaa55d" elementFormDefault="qualified">
    <xsd:import namespace="http://schemas.microsoft.com/office/2006/documentManagement/types"/>
    <xsd:import namespace="http://schemas.microsoft.com/office/infopath/2007/PartnerControls"/>
    <xsd:element name="Resources" ma:index="3" nillable="true" ma:displayName="Resources" ma:description="Type of communication resources available to the core team. " ma:format="Dropdown" ma:internalName="Resources" ma:readOnly="false">
      <xsd:simpleType>
        <xsd:restriction base="dms:Choice">
          <xsd:enumeration value="Images"/>
          <xsd:enumeration value="FAQs"/>
          <xsd:enumeration value="Presentations"/>
          <xsd:enumeration value="Meeting Recording"/>
          <xsd:enumeration value="Meeting Notes"/>
          <xsd:enumeration value="Documentation"/>
        </xsd:restriction>
      </xsd:simpleType>
    </xsd:element>
    <xsd:element name="Workstream" ma:index="4" nillable="true" ma:displayName="Workstream" ma:default="n/a" ma:format="Dropdown" ma:internalName="Workstream" ma:readOnly="false">
      <xsd:simpleType>
        <xsd:restriction base="dms:Choice">
          <xsd:enumeration value="Steering Committee"/>
          <xsd:enumeration value="LP General Information"/>
          <xsd:enumeration value="Comms Materials"/>
          <xsd:enumeration value="Global LP Meeting"/>
          <xsd:enumeration value="Regional LP Meeting"/>
          <xsd:enumeration value="Collaboration Site for LP"/>
          <xsd:enumeration value="LP Weekly Progress Report"/>
          <xsd:enumeration value="n/a"/>
        </xsd:restriction>
      </xsd:simpleType>
    </xsd:element>
    <xsd:element name="MediaServiceMetadata" ma:index="31" nillable="true" ma:displayName="MediaServiceMetadata" ma:hidden="true" ma:internalName="MediaServiceMetadata" ma:readOnly="true">
      <xsd:simpleType>
        <xsd:restriction base="dms:Note"/>
      </xsd:simpleType>
    </xsd:element>
    <xsd:element name="MediaServiceFastMetadata" ma:index="32" nillable="true" ma:displayName="MediaServiceFastMetadata" ma:hidden="true" ma:internalName="MediaServiceFastMetadata" ma:readOnly="true">
      <xsd:simpleType>
        <xsd:restriction base="dms:Note"/>
      </xsd:simpleType>
    </xsd:element>
    <xsd:element name="MediaServiceAutoKeyPoints" ma:index="33" nillable="true" ma:displayName="MediaServiceAutoKeyPoints" ma:hidden="true" ma:internalName="MediaServiceAutoKeyPoints" ma:readOnly="true">
      <xsd:simpleType>
        <xsd:restriction base="dms:Note"/>
      </xsd:simpleType>
    </xsd:element>
    <xsd:element name="MediaServiceKeyPoints" ma:index="34" nillable="true" ma:displayName="KeyPoints" ma:hidden="true" ma:internalName="MediaServiceKeyPoints" ma:readOnly="true">
      <xsd:simpleType>
        <xsd:restriction base="dms:Note"/>
      </xsd:simpleType>
    </xsd:element>
    <xsd:element name="MediaServiceAutoTags" ma:index="43" nillable="true" ma:displayName="Tags" ma:internalName="MediaServiceAutoTags" ma:readOnly="true">
      <xsd:simpleType>
        <xsd:restriction base="dms:Text"/>
      </xsd:simpleType>
    </xsd:element>
    <xsd:element name="MediaServiceGenerationTime" ma:index="44" nillable="true" ma:displayName="MediaServiceGenerationTime" ma:hidden="true" ma:internalName="MediaServiceGenerationTime" ma:readOnly="true">
      <xsd:simpleType>
        <xsd:restriction base="dms:Text"/>
      </xsd:simpleType>
    </xsd:element>
    <xsd:element name="MediaServiceEventHashCode" ma:index="45" nillable="true" ma:displayName="MediaServiceEventHashCode" ma:hidden="true" ma:internalName="MediaServiceEventHashCode" ma:readOnly="true">
      <xsd:simpleType>
        <xsd:restriction base="dms:Text"/>
      </xsd:simpleType>
    </xsd:element>
    <xsd:element name="MediaServiceOCR" ma:index="46" nillable="true" ma:displayName="Extracted Text" ma:internalName="MediaServiceOCR" ma:readOnly="true">
      <xsd:simpleType>
        <xsd:restriction base="dms:Note">
          <xsd:maxLength value="255"/>
        </xsd:restriction>
      </xsd:simpleType>
    </xsd:element>
    <xsd:element name="MediaServiceDateTaken" ma:index="47"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f52be21-d5d2-427a-9e11-9d459aebcfaa" elementFormDefault="qualified">
    <xsd:import namespace="http://schemas.microsoft.com/office/2006/documentManagement/types"/>
    <xsd:import namespace="http://schemas.microsoft.com/office/infopath/2007/PartnerControls"/>
    <xsd:element name="SharedWithUsers" ma:index="37"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8" nillable="true" ma:displayName="Shared With Details" ma:hidden="true" ma:internalName="SharedWithDetails" ma:readOnly="true">
      <xsd:simpleType>
        <xsd:restriction base="dms:Note"/>
      </xsd:simpleType>
    </xsd:element>
    <xsd:element name="TaxKeywordTaxHTField" ma:index="42" nillable="true" ma:taxonomy="true" ma:internalName="TaxKeywordTaxHTField" ma:taxonomyFieldName="TaxKeyword" ma:displayName="Enterprise Keywords" ma:readOnly="false" ma:fieldId="{23f27201-bee3-471e-b2e7-b64fd8b7ca38}" ma:taxonomyMulti="true" ma:sspId="73f51738-d318-4883-9d64-4f0bd0ccc55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ategoryDescription" ma:index="9" nillable="true" ma:displayName="Description" ma:internalName="CategoryDescription" ma:readOnly="fals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39" nillable="true" ma:displayName="IconOverlay" ma:hidden="true" ma:internalName="IconOverlay" ma:readOnly="fals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31B95FE-EFA2-4BB6-BD65-1D48E6BFE395}">
  <ds:schemaRefs>
    <ds:schemaRef ds:uri="http://schemas.microsoft.com/sharepoint/events"/>
  </ds:schemaRefs>
</ds:datastoreItem>
</file>

<file path=customXml/itemProps2.xml><?xml version="1.0" encoding="utf-8"?>
<ds:datastoreItem xmlns:ds="http://schemas.openxmlformats.org/officeDocument/2006/customXml" ds:itemID="{BDE307BA-9EC7-462A-9376-3F2C3194A2CA}">
  <ds:schemaRefs>
    <ds:schemaRef ds:uri="85da5562-c2b2-4553-8296-e6d5eebaa55d"/>
    <ds:schemaRef ds:uri="ca283e0b-db31-4043-a2ef-b80661bf084a"/>
    <ds:schemaRef ds:uri="ff52be21-d5d2-427a-9e11-9d459aebcfa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microsoft.com/sharepoint/v3"/>
    <ds:schemaRef ds:uri="http://schemas.microsoft.com/sharepoint/v4"/>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01B6DAA-A0DA-40EC-B36F-5BD68DC62011}">
  <ds:schemaRefs>
    <ds:schemaRef ds:uri="Microsoft.SharePoint.Taxonomy.ContentTypeSync"/>
  </ds:schemaRefs>
</ds:datastoreItem>
</file>

<file path=customXml/itemProps4.xml><?xml version="1.0" encoding="utf-8"?>
<ds:datastoreItem xmlns:ds="http://schemas.openxmlformats.org/officeDocument/2006/customXml" ds:itemID="{F1D5AD66-D0CB-4540-BA3B-3B08AB2621A6}">
  <ds:schemaRefs>
    <ds:schemaRef ds:uri="http://schemas.microsoft.com/sharepoint/v3/contenttype/forms"/>
  </ds:schemaRefs>
</ds:datastoreItem>
</file>

<file path=customXml/itemProps5.xml><?xml version="1.0" encoding="utf-8"?>
<ds:datastoreItem xmlns:ds="http://schemas.openxmlformats.org/officeDocument/2006/customXml" ds:itemID="{FA50223F-680A-4A1E-8ECB-37A1DB129899}">
  <ds:schemaRefs>
    <ds:schemaRef ds:uri="http://schemas.microsoft.com/office/2006/metadata/customXsn"/>
  </ds:schemaRefs>
</ds:datastoreItem>
</file>

<file path=customXml/itemProps6.xml><?xml version="1.0" encoding="utf-8"?>
<ds:datastoreItem xmlns:ds="http://schemas.openxmlformats.org/officeDocument/2006/customXml" ds:itemID="{3E6A9BF3-8D31-4A4B-B0B6-E82AC32A4368}">
  <ds:schemaRefs>
    <ds:schemaRef ds:uri="85da5562-c2b2-4553-8296-e6d5eebaa55d"/>
    <ds:schemaRef ds:uri="ca283e0b-db31-4043-a2ef-b80661bf084a"/>
    <ds:schemaRef ds:uri="ff52be21-d5d2-427a-9e11-9d459aebcfa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microsoft.com/sharepoint/v3"/>
    <ds:schemaRef ds:uri="http://schemas.microsoft.com/sharepoint/v4"/>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2</TotalTime>
  <Words>1186</Words>
  <Application>Microsoft Office PowerPoint</Application>
  <PresentationFormat>Widescreen</PresentationFormat>
  <Paragraphs>180</Paragraphs>
  <Slides>20</Slides>
  <Notes>15</Notes>
  <HiddenSlides>0</HiddenSlides>
  <MMClips>1</MMClips>
  <ScaleCrop>false</ScaleCrop>
  <HeadingPairs>
    <vt:vector size="10"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20</vt:i4>
      </vt:variant>
      <vt:variant>
        <vt:lpstr>Custom Shows</vt:lpstr>
      </vt:variant>
      <vt:variant>
        <vt:i4>1</vt:i4>
      </vt:variant>
    </vt:vector>
  </HeadingPairs>
  <TitlesOfParts>
    <vt:vector size="27" baseType="lpstr">
      <vt:lpstr>Arial</vt:lpstr>
      <vt:lpstr>Segoe UI</vt:lpstr>
      <vt:lpstr>Trebuchet MS</vt:lpstr>
      <vt:lpstr>1_Unicef Grid 16:9</vt:lpstr>
      <vt:lpstr>Unicef Grid 16:9</vt:lpstr>
      <vt:lpstr>think-cell Slide</vt:lpstr>
      <vt:lpstr>PowerPoint Presentation</vt:lpstr>
      <vt:lpstr>Designed to close the learning poverty gap, the Learning Passport is an online, mobile, and offline tech platform enabling high quality, flexible learning </vt:lpstr>
      <vt:lpstr>3 Ways to Reach Children</vt:lpstr>
      <vt:lpstr>Course Library contains all content</vt:lpstr>
      <vt:lpstr>Digital Skills &amp; Literacy </vt:lpstr>
      <vt:lpstr>PowerPoint Presentation</vt:lpstr>
      <vt:lpstr>PowerPoint Presentation</vt:lpstr>
      <vt:lpstr>PowerPoint Presentation</vt:lpstr>
      <vt:lpstr>PowerPoint Presentation</vt:lpstr>
      <vt:lpstr>PowerPoint Presentation</vt:lpstr>
      <vt:lpstr>Offline Learning   The Learning Passport’s Offline Model enables learners and teachers to continue their education in low to no connectivity areas, helping to bridge the digital learning gap.   The offline model utilises two concepts to provide digital learning experiences in areas without connectivity. </vt:lpstr>
      <vt:lpstr>2) Sneakernet Concept  The hub device will be intermittently synced to download new content and upload learners’ record through the physical transport of data on storage devices.  Data from portable storage devices will then be synced to an online database at connectivity points.</vt:lpstr>
      <vt:lpstr>PowerPoint Presentation</vt:lpstr>
      <vt:lpstr>Want to find  out more or get involved?</vt:lpstr>
      <vt:lpstr>PowerPoint Presentation</vt:lpstr>
      <vt:lpstr>Appendix </vt:lpstr>
      <vt:lpstr>PowerPoint Presentation</vt:lpstr>
      <vt:lpstr>PowerPoint Presentation</vt:lpstr>
      <vt:lpstr>Learning Passport in Kosovo – Deep Dive</vt:lpstr>
      <vt:lpstr>Contributing to Evidence Generation in EdTech</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Ellen Eun</cp:lastModifiedBy>
  <cp:revision>13</cp:revision>
  <cp:lastPrinted>2000-01-01T05:00:00Z</cp:lastPrinted>
  <dcterms:created xsi:type="dcterms:W3CDTF">2019-12-04T18:03:01Z</dcterms:created>
  <dcterms:modified xsi:type="dcterms:W3CDTF">2021-04-20T20:3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6190449</vt:lpwstr>
  </property>
  <property fmtid="{D5CDD505-2E9C-101B-9397-08002B2CF9AE}" pid="4" name="NXPowerLiteSettings">
    <vt:lpwstr>87000AA0054001</vt:lpwstr>
  </property>
  <property fmtid="{D5CDD505-2E9C-101B-9397-08002B2CF9AE}" pid="5" name="NXPowerLiteVersion">
    <vt:lpwstr>D8.0.4</vt:lpwstr>
  </property>
  <property fmtid="{D5CDD505-2E9C-101B-9397-08002B2CF9AE}" pid="6" name="Template Name">
    <vt:lpwstr>16x9</vt:lpwstr>
  </property>
  <property fmtid="{D5CDD505-2E9C-101B-9397-08002B2CF9AE}" pid="7" name="ContentTypeId">
    <vt:lpwstr>0x0101009BA85F8052A6DA4FA3E31FF9F74C697000D0B43AA1BF95BE45BB3994B93DC3CE89</vt:lpwstr>
  </property>
  <property fmtid="{D5CDD505-2E9C-101B-9397-08002B2CF9AE}" pid="8" name="TaxKeyword">
    <vt:lpwstr/>
  </property>
  <property fmtid="{D5CDD505-2E9C-101B-9397-08002B2CF9AE}" pid="9" name="Topic">
    <vt:lpwstr>8;#Learning passports|63b64e7d-658c-46a5-abb7-5def8b72a6fc</vt:lpwstr>
  </property>
  <property fmtid="{D5CDD505-2E9C-101B-9397-08002B2CF9AE}" pid="10" name="OfficeDivision">
    <vt:lpwstr>2;#Programme Division-456D|b599cc08-53d0-4ecf-afce-40bdcdf910e2</vt:lpwstr>
  </property>
  <property fmtid="{D5CDD505-2E9C-101B-9397-08002B2CF9AE}" pid="11" name="DocumentType">
    <vt:lpwstr>100;#Presentations (non-technical)|de93adcf-8493-4ce5-bec2-2d9ffa65a82d</vt:lpwstr>
  </property>
  <property fmtid="{D5CDD505-2E9C-101B-9397-08002B2CF9AE}" pid="12" name="GeographicScope">
    <vt:lpwstr/>
  </property>
  <property fmtid="{D5CDD505-2E9C-101B-9397-08002B2CF9AE}" pid="13" name="SystemDTAC">
    <vt:lpwstr/>
  </property>
  <property fmtid="{D5CDD505-2E9C-101B-9397-08002B2CF9AE}" pid="14" name="CriticalForLongTermRetention">
    <vt:lpwstr/>
  </property>
</Properties>
</file>